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9" r:id="rId1"/>
    <p:sldMasterId id="2147483722" r:id="rId2"/>
    <p:sldMasterId id="2147483731" r:id="rId3"/>
    <p:sldMasterId id="2147483740" r:id="rId4"/>
  </p:sldMasterIdLst>
  <p:notesMasterIdLst>
    <p:notesMasterId r:id="rId69"/>
  </p:notesMasterIdLst>
  <p:sldIdLst>
    <p:sldId id="628" r:id="rId5"/>
    <p:sldId id="595" r:id="rId6"/>
    <p:sldId id="596" r:id="rId7"/>
    <p:sldId id="597" r:id="rId8"/>
    <p:sldId id="625" r:id="rId9"/>
    <p:sldId id="618" r:id="rId10"/>
    <p:sldId id="619" r:id="rId11"/>
    <p:sldId id="620" r:id="rId12"/>
    <p:sldId id="621" r:id="rId13"/>
    <p:sldId id="622" r:id="rId14"/>
    <p:sldId id="598" r:id="rId15"/>
    <p:sldId id="617" r:id="rId16"/>
    <p:sldId id="623" r:id="rId17"/>
    <p:sldId id="599" r:id="rId18"/>
    <p:sldId id="600" r:id="rId19"/>
    <p:sldId id="601" r:id="rId20"/>
    <p:sldId id="602" r:id="rId21"/>
    <p:sldId id="603" r:id="rId22"/>
    <p:sldId id="604" r:id="rId23"/>
    <p:sldId id="605" r:id="rId24"/>
    <p:sldId id="606" r:id="rId25"/>
    <p:sldId id="607" r:id="rId26"/>
    <p:sldId id="609" r:id="rId27"/>
    <p:sldId id="610" r:id="rId28"/>
    <p:sldId id="611" r:id="rId29"/>
    <p:sldId id="613" r:id="rId30"/>
    <p:sldId id="608" r:id="rId31"/>
    <p:sldId id="612" r:id="rId32"/>
    <p:sldId id="614" r:id="rId33"/>
    <p:sldId id="615" r:id="rId34"/>
    <p:sldId id="624" r:id="rId35"/>
    <p:sldId id="495" r:id="rId36"/>
    <p:sldId id="496" r:id="rId37"/>
    <p:sldId id="497" r:id="rId38"/>
    <p:sldId id="505" r:id="rId39"/>
    <p:sldId id="506" r:id="rId40"/>
    <p:sldId id="589" r:id="rId41"/>
    <p:sldId id="507" r:id="rId42"/>
    <p:sldId id="528" r:id="rId43"/>
    <p:sldId id="509" r:id="rId44"/>
    <p:sldId id="510" r:id="rId45"/>
    <p:sldId id="511" r:id="rId46"/>
    <p:sldId id="512" r:id="rId47"/>
    <p:sldId id="493" r:id="rId48"/>
    <p:sldId id="513" r:id="rId49"/>
    <p:sldId id="514" r:id="rId50"/>
    <p:sldId id="515" r:id="rId51"/>
    <p:sldId id="516" r:id="rId52"/>
    <p:sldId id="517" r:id="rId53"/>
    <p:sldId id="518" r:id="rId54"/>
    <p:sldId id="519" r:id="rId55"/>
    <p:sldId id="590" r:id="rId56"/>
    <p:sldId id="626" r:id="rId57"/>
    <p:sldId id="520" r:id="rId58"/>
    <p:sldId id="521" r:id="rId59"/>
    <p:sldId id="522" r:id="rId60"/>
    <p:sldId id="593" r:id="rId61"/>
    <p:sldId id="523" r:id="rId62"/>
    <p:sldId id="524" r:id="rId63"/>
    <p:sldId id="627" r:id="rId64"/>
    <p:sldId id="526" r:id="rId65"/>
    <p:sldId id="527" r:id="rId66"/>
    <p:sldId id="325" r:id="rId67"/>
    <p:sldId id="491" r:id="rId68"/>
  </p:sldIdLst>
  <p:sldSz cx="12192000" cy="6858000"/>
  <p:notesSz cx="9944100" cy="6805613"/>
  <p:defaultTextStyle>
    <a:defPPr marL="0" marR="0" indent="0" algn="l" defTabSz="4572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9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4107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1pPr>
    <a:lvl2pPr marL="0" marR="0" indent="114300" algn="ctr" defTabSz="4107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2pPr>
    <a:lvl3pPr marL="0" marR="0" indent="228600" algn="ctr" defTabSz="4107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3pPr>
    <a:lvl4pPr marL="0" marR="0" indent="342900" algn="ctr" defTabSz="4107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4pPr>
    <a:lvl5pPr marL="0" marR="0" indent="457200" algn="ctr" defTabSz="4107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5pPr>
    <a:lvl6pPr marL="0" marR="0" indent="571500" algn="ctr" defTabSz="4107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6pPr>
    <a:lvl7pPr marL="0" marR="0" indent="685800" algn="ctr" defTabSz="4107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7pPr>
    <a:lvl8pPr marL="0" marR="0" indent="800100" algn="ctr" defTabSz="4107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8pPr>
    <a:lvl9pPr marL="0" marR="0" indent="914400" algn="ctr" defTabSz="410766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25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75B6"/>
    <a:srgbClr val="E22A8B"/>
    <a:srgbClr val="E1E8F5"/>
    <a:srgbClr val="E4E4E4"/>
    <a:srgbClr val="A5A5A5"/>
    <a:srgbClr val="89ABEF"/>
    <a:srgbClr val="59B9B7"/>
    <a:srgbClr val="8C7EB1"/>
    <a:srgbClr val="4D5972"/>
    <a:srgbClr val="ACF2F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997" autoAdjust="0"/>
    <p:restoredTop sz="78375" autoAdjust="0"/>
  </p:normalViewPr>
  <p:slideViewPr>
    <p:cSldViewPr snapToGrid="0">
      <p:cViewPr>
        <p:scale>
          <a:sx n="70" d="100"/>
          <a:sy n="70" d="100"/>
        </p:scale>
        <p:origin x="-432" y="-26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31" d="100"/>
          <a:sy n="131" d="100"/>
        </p:scale>
        <p:origin x="1672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" Type="http://schemas.openxmlformats.org/officeDocument/2006/relationships/slide" Target="slides/slide3.xml"/><Relationship Id="rId71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2F80BA9-A08E-499C-A92B-34371D8B9C2E}" type="doc">
      <dgm:prSet loTypeId="urn:microsoft.com/office/officeart/2005/8/layout/pyramid1" loCatId="pyramid" qsTypeId="urn:microsoft.com/office/officeart/2005/8/quickstyle/simple1" qsCatId="simple" csTypeId="urn:microsoft.com/office/officeart/2005/8/colors/colorful5" csCatId="colorful" phldr="1"/>
      <dgm:spPr/>
    </dgm:pt>
    <dgm:pt modelId="{74870633-B3C7-45CE-8EE1-3C8E710DCB48}">
      <dgm:prSet phldrT="[Текст]" phldr="1"/>
      <dgm:spPr/>
      <dgm:t>
        <a:bodyPr/>
        <a:lstStyle/>
        <a:p>
          <a:endParaRPr lang="ru-RU" dirty="0"/>
        </a:p>
      </dgm:t>
    </dgm:pt>
    <dgm:pt modelId="{AA1A59D7-9AAF-4F1B-BA05-B5463AF4DF7D}" type="parTrans" cxnId="{903032D6-3A06-4853-BA94-7CC7937EA6BA}">
      <dgm:prSet/>
      <dgm:spPr/>
      <dgm:t>
        <a:bodyPr/>
        <a:lstStyle/>
        <a:p>
          <a:endParaRPr lang="ru-RU"/>
        </a:p>
      </dgm:t>
    </dgm:pt>
    <dgm:pt modelId="{071BAEBB-4503-44DC-8AAE-5A9FCA04C2C0}" type="sibTrans" cxnId="{903032D6-3A06-4853-BA94-7CC7937EA6BA}">
      <dgm:prSet/>
      <dgm:spPr/>
      <dgm:t>
        <a:bodyPr/>
        <a:lstStyle/>
        <a:p>
          <a:endParaRPr lang="ru-RU"/>
        </a:p>
      </dgm:t>
    </dgm:pt>
    <dgm:pt modelId="{9B6DD655-7E6D-4025-9DA9-61FBFC96C9C4}">
      <dgm:prSet phldrT="[Текст]" phldr="1"/>
      <dgm:spPr/>
      <dgm:t>
        <a:bodyPr/>
        <a:lstStyle/>
        <a:p>
          <a:endParaRPr lang="ru-RU" dirty="0"/>
        </a:p>
      </dgm:t>
    </dgm:pt>
    <dgm:pt modelId="{19EC38BE-C0CA-4456-925A-A5CF15AAA0A4}" type="sibTrans" cxnId="{92F41ED4-A13D-41E4-AFDD-1A6E993477A0}">
      <dgm:prSet/>
      <dgm:spPr/>
      <dgm:t>
        <a:bodyPr/>
        <a:lstStyle/>
        <a:p>
          <a:endParaRPr lang="ru-RU"/>
        </a:p>
      </dgm:t>
    </dgm:pt>
    <dgm:pt modelId="{DCC21F0D-9046-42AE-BE74-5034EF31037D}" type="parTrans" cxnId="{92F41ED4-A13D-41E4-AFDD-1A6E993477A0}">
      <dgm:prSet/>
      <dgm:spPr/>
      <dgm:t>
        <a:bodyPr/>
        <a:lstStyle/>
        <a:p>
          <a:endParaRPr lang="ru-RU"/>
        </a:p>
      </dgm:t>
    </dgm:pt>
    <dgm:pt modelId="{BA853B69-08DB-43C0-B0B6-5CF5DE08C09B}" type="pres">
      <dgm:prSet presAssocID="{22F80BA9-A08E-499C-A92B-34371D8B9C2E}" presName="Name0" presStyleCnt="0">
        <dgm:presLayoutVars>
          <dgm:dir/>
          <dgm:animLvl val="lvl"/>
          <dgm:resizeHandles val="exact"/>
        </dgm:presLayoutVars>
      </dgm:prSet>
      <dgm:spPr/>
    </dgm:pt>
    <dgm:pt modelId="{6875C021-40A4-4A31-A1E7-D3AC2BDE33CD}" type="pres">
      <dgm:prSet presAssocID="{9B6DD655-7E6D-4025-9DA9-61FBFC96C9C4}" presName="Name8" presStyleCnt="0"/>
      <dgm:spPr/>
    </dgm:pt>
    <dgm:pt modelId="{A34ADCA4-98E8-40AE-A140-E383DBE840BD}" type="pres">
      <dgm:prSet presAssocID="{9B6DD655-7E6D-4025-9DA9-61FBFC96C9C4}" presName="level" presStyleLbl="node1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81FAA3-5AF5-422F-896C-D522B0786266}" type="pres">
      <dgm:prSet presAssocID="{9B6DD655-7E6D-4025-9DA9-61FBFC96C9C4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DD80FC6-FBEF-478A-AEAA-E0067C18C651}" type="pres">
      <dgm:prSet presAssocID="{74870633-B3C7-45CE-8EE1-3C8E710DCB48}" presName="Name8" presStyleCnt="0"/>
      <dgm:spPr/>
    </dgm:pt>
    <dgm:pt modelId="{5D49C70D-889B-4574-B73E-1A97109762F9}" type="pres">
      <dgm:prSet presAssocID="{74870633-B3C7-45CE-8EE1-3C8E710DCB48}" presName="level" presStyleLbl="node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66D3A0-0537-49AF-A37F-E31141593AE3}" type="pres">
      <dgm:prSet presAssocID="{74870633-B3C7-45CE-8EE1-3C8E710DCB4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E2EA043-803F-484B-B6D6-E6B2A35A8902}" type="presOf" srcId="{9B6DD655-7E6D-4025-9DA9-61FBFC96C9C4}" destId="{F481FAA3-5AF5-422F-896C-D522B0786266}" srcOrd="1" destOrd="0" presId="urn:microsoft.com/office/officeart/2005/8/layout/pyramid1"/>
    <dgm:cxn modelId="{92F41ED4-A13D-41E4-AFDD-1A6E993477A0}" srcId="{22F80BA9-A08E-499C-A92B-34371D8B9C2E}" destId="{9B6DD655-7E6D-4025-9DA9-61FBFC96C9C4}" srcOrd="0" destOrd="0" parTransId="{DCC21F0D-9046-42AE-BE74-5034EF31037D}" sibTransId="{19EC38BE-C0CA-4456-925A-A5CF15AAA0A4}"/>
    <dgm:cxn modelId="{D62BF9F5-9F8C-4F80-A104-41525DC5B372}" type="presOf" srcId="{22F80BA9-A08E-499C-A92B-34371D8B9C2E}" destId="{BA853B69-08DB-43C0-B0B6-5CF5DE08C09B}" srcOrd="0" destOrd="0" presId="urn:microsoft.com/office/officeart/2005/8/layout/pyramid1"/>
    <dgm:cxn modelId="{8A2CC14B-0A6F-4C34-84C3-7ED788C8C630}" type="presOf" srcId="{9B6DD655-7E6D-4025-9DA9-61FBFC96C9C4}" destId="{A34ADCA4-98E8-40AE-A140-E383DBE840BD}" srcOrd="0" destOrd="0" presId="urn:microsoft.com/office/officeart/2005/8/layout/pyramid1"/>
    <dgm:cxn modelId="{903032D6-3A06-4853-BA94-7CC7937EA6BA}" srcId="{22F80BA9-A08E-499C-A92B-34371D8B9C2E}" destId="{74870633-B3C7-45CE-8EE1-3C8E710DCB48}" srcOrd="1" destOrd="0" parTransId="{AA1A59D7-9AAF-4F1B-BA05-B5463AF4DF7D}" sibTransId="{071BAEBB-4503-44DC-8AAE-5A9FCA04C2C0}"/>
    <dgm:cxn modelId="{80007114-C475-4A01-BFEC-717DB170068E}" type="presOf" srcId="{74870633-B3C7-45CE-8EE1-3C8E710DCB48}" destId="{1766D3A0-0537-49AF-A37F-E31141593AE3}" srcOrd="1" destOrd="0" presId="urn:microsoft.com/office/officeart/2005/8/layout/pyramid1"/>
    <dgm:cxn modelId="{4C2011F7-43B3-4225-B147-4BA1E265FFB1}" type="presOf" srcId="{74870633-B3C7-45CE-8EE1-3C8E710DCB48}" destId="{5D49C70D-889B-4574-B73E-1A97109762F9}" srcOrd="0" destOrd="0" presId="urn:microsoft.com/office/officeart/2005/8/layout/pyramid1"/>
    <dgm:cxn modelId="{2AB15336-4B87-4304-B820-818D1C75E989}" type="presParOf" srcId="{BA853B69-08DB-43C0-B0B6-5CF5DE08C09B}" destId="{6875C021-40A4-4A31-A1E7-D3AC2BDE33CD}" srcOrd="0" destOrd="0" presId="urn:microsoft.com/office/officeart/2005/8/layout/pyramid1"/>
    <dgm:cxn modelId="{D2231A64-FFE6-4CBA-86E7-E5697478AE74}" type="presParOf" srcId="{6875C021-40A4-4A31-A1E7-D3AC2BDE33CD}" destId="{A34ADCA4-98E8-40AE-A140-E383DBE840BD}" srcOrd="0" destOrd="0" presId="urn:microsoft.com/office/officeart/2005/8/layout/pyramid1"/>
    <dgm:cxn modelId="{3016F181-49BC-49BD-89DC-99A3E8B099BE}" type="presParOf" srcId="{6875C021-40A4-4A31-A1E7-D3AC2BDE33CD}" destId="{F481FAA3-5AF5-422F-896C-D522B0786266}" srcOrd="1" destOrd="0" presId="urn:microsoft.com/office/officeart/2005/8/layout/pyramid1"/>
    <dgm:cxn modelId="{59C4C565-F4CB-493D-BEB7-53EDDB7F1FFF}" type="presParOf" srcId="{BA853B69-08DB-43C0-B0B6-5CF5DE08C09B}" destId="{FDD80FC6-FBEF-478A-AEAA-E0067C18C651}" srcOrd="1" destOrd="0" presId="urn:microsoft.com/office/officeart/2005/8/layout/pyramid1"/>
    <dgm:cxn modelId="{4145CD31-777A-4BE2-9038-F447F75D8DFB}" type="presParOf" srcId="{FDD80FC6-FBEF-478A-AEAA-E0067C18C651}" destId="{5D49C70D-889B-4574-B73E-1A97109762F9}" srcOrd="0" destOrd="0" presId="urn:microsoft.com/office/officeart/2005/8/layout/pyramid1"/>
    <dgm:cxn modelId="{C980F9A4-3ECE-400F-BEDE-5BDCBF068EAF}" type="presParOf" srcId="{FDD80FC6-FBEF-478A-AEAA-E0067C18C651}" destId="{1766D3A0-0537-49AF-A37F-E31141593AE3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87D2110-4EC4-493C-A107-14CB77C18B00}" type="doc">
      <dgm:prSet loTypeId="urn:microsoft.com/office/officeart/2005/8/layout/hierarchy6" loCatId="hierarchy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C0E162DB-9387-46E9-813C-F9CCEFC7C311}">
      <dgm:prSet phldrT="[Текст]" custT="1"/>
      <dgm:spPr/>
      <dgm:t>
        <a:bodyPr/>
        <a:lstStyle/>
        <a:p>
          <a:r>
            <a:rPr lang="ru-RU" sz="2400" b="1" dirty="0" smtClean="0">
              <a:latin typeface="Arial Narrow" panose="020B0606020202030204" pitchFamily="34" charset="0"/>
            </a:rPr>
            <a:t>Три ключевых направления</a:t>
          </a:r>
          <a:endParaRPr lang="ru-RU" sz="2400" b="1" dirty="0">
            <a:latin typeface="Arial Narrow" panose="020B0606020202030204" pitchFamily="34" charset="0"/>
          </a:endParaRPr>
        </a:p>
      </dgm:t>
    </dgm:pt>
    <dgm:pt modelId="{AC1D66D2-4866-4AA4-8E4C-9407043A7E68}" type="parTrans" cxnId="{2123DC42-C493-4DB8-9CB5-D4DCB681ADD2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98338009-96FD-48F6-847B-DC13EEEBF5AC}" type="sibTrans" cxnId="{2123DC42-C493-4DB8-9CB5-D4DCB681ADD2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87D0B9CE-6186-496E-8682-2123632EDEB2}">
      <dgm:prSet phldrT="[Текст]" custT="1"/>
      <dgm:spPr/>
      <dgm:t>
        <a:bodyPr/>
        <a:lstStyle/>
        <a:p>
          <a:r>
            <a:rPr lang="ru-RU" sz="2800" b="1" dirty="0" smtClean="0">
              <a:latin typeface="Arial Narrow" panose="020B0606020202030204" pitchFamily="34" charset="0"/>
            </a:rPr>
            <a:t>Теория:</a:t>
          </a:r>
          <a:endParaRPr lang="ru-RU" sz="2800" b="1" dirty="0">
            <a:latin typeface="Arial Narrow" panose="020B0606020202030204" pitchFamily="34" charset="0"/>
          </a:endParaRPr>
        </a:p>
      </dgm:t>
    </dgm:pt>
    <dgm:pt modelId="{EEB2E082-FA09-4A44-8D0B-76FD249D5941}" type="parTrans" cxnId="{03B0BEBC-362B-41F3-AEE8-47513B08EC04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E0213F51-A596-4E8C-A0EE-DE753D659B5B}" type="sibTrans" cxnId="{03B0BEBC-362B-41F3-AEE8-47513B08EC04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2A2117C6-5C38-4F51-9152-3B7F34473DD8}">
      <dgm:prSet phldrT="[Текст]" custT="1"/>
      <dgm:spPr/>
      <dgm:t>
        <a:bodyPr/>
        <a:lstStyle/>
        <a:p>
          <a:r>
            <a:rPr lang="ru-RU" sz="2800" b="1" dirty="0" smtClean="0">
              <a:latin typeface="Arial Narrow" panose="020B0606020202030204" pitchFamily="34" charset="0"/>
            </a:rPr>
            <a:t>Профориентация:</a:t>
          </a:r>
          <a:endParaRPr lang="ru-RU" sz="2800" b="1" dirty="0">
            <a:latin typeface="Arial Narrow" panose="020B0606020202030204" pitchFamily="34" charset="0"/>
          </a:endParaRPr>
        </a:p>
      </dgm:t>
    </dgm:pt>
    <dgm:pt modelId="{8E863B38-5858-4F79-BD82-C078F824EEBA}" type="parTrans" cxnId="{91BECF3A-DA53-43A5-B912-99BC3C3C3DFD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39F765B4-0CA3-4057-BC73-83F1993C9E8D}" type="sibTrans" cxnId="{91BECF3A-DA53-43A5-B912-99BC3C3C3DFD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79C936E5-232F-43A6-BDD0-9337F6297223}">
      <dgm:prSet custT="1"/>
      <dgm:spPr/>
      <dgm:t>
        <a:bodyPr/>
        <a:lstStyle/>
        <a:p>
          <a:r>
            <a:rPr lang="ru-RU" sz="2800" b="1" dirty="0" smtClean="0">
              <a:latin typeface="Arial Narrow" panose="020B0606020202030204" pitchFamily="34" charset="0"/>
            </a:rPr>
            <a:t>Практика:</a:t>
          </a:r>
          <a:endParaRPr lang="ru-RU" sz="2800" b="1" dirty="0">
            <a:latin typeface="Arial Narrow" panose="020B0606020202030204" pitchFamily="34" charset="0"/>
          </a:endParaRPr>
        </a:p>
      </dgm:t>
    </dgm:pt>
    <dgm:pt modelId="{2442B38E-C6E7-4975-9597-6C75BA40B9CD}" type="parTrans" cxnId="{2A910249-E9CC-4F91-A545-F869011E447A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F2744A59-FD1F-41B2-B424-21450A630855}" type="sibTrans" cxnId="{2A910249-E9CC-4F91-A545-F869011E447A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E2B57318-BC4E-46B7-9284-0269FABEE864}">
      <dgm:prSet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dirty="0" smtClean="0">
              <a:latin typeface="Arial Narrow" panose="020B0606020202030204" pitchFamily="34" charset="0"/>
            </a:rPr>
            <a:t>современные и традиционные технологии</a:t>
          </a:r>
        </a:p>
      </dgm:t>
    </dgm:pt>
    <dgm:pt modelId="{06D507EE-D8DB-4A4A-B5D2-B2E1AC5516FB}" type="parTrans" cxnId="{595C0C3F-BD83-4668-AB4F-5F63310434B9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B1B6F012-F6E7-4C23-B68A-75B572C0A416}" type="sibTrans" cxnId="{595C0C3F-BD83-4668-AB4F-5F63310434B9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DA8DB2AF-B001-4C85-B8CB-641F2A53F291}">
      <dgm:prSet custT="1"/>
      <dgm:spPr/>
      <dgm:t>
        <a:bodyPr/>
        <a:lstStyle/>
        <a:p>
          <a:r>
            <a:rPr lang="ru-RU" sz="2000" dirty="0" smtClean="0">
              <a:latin typeface="Arial Narrow" panose="020B0606020202030204" pitchFamily="34" charset="0"/>
            </a:rPr>
            <a:t>трудовое воспитание</a:t>
          </a:r>
          <a:endParaRPr lang="ru-RU" sz="2000" dirty="0">
            <a:latin typeface="Arial Narrow" panose="020B0606020202030204" pitchFamily="34" charset="0"/>
          </a:endParaRPr>
        </a:p>
      </dgm:t>
    </dgm:pt>
    <dgm:pt modelId="{80C3D2B5-3ACE-46D3-BC5F-A1FB270814A9}" type="parTrans" cxnId="{08F8415D-C7BB-4293-A206-391B0CAA94F4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918B78BA-41EB-4605-A887-5F64D655D6EE}" type="sibTrans" cxnId="{08F8415D-C7BB-4293-A206-391B0CAA94F4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2B3AD6A4-B5AB-4AC6-810C-EDCB2CDE5F1B}">
      <dgm:prSet custT="1"/>
      <dgm:spPr/>
      <dgm:t>
        <a:bodyPr/>
        <a:lstStyle/>
        <a:p>
          <a:r>
            <a:rPr lang="ru-RU" sz="2000" dirty="0" smtClean="0">
              <a:latin typeface="Arial Narrow" panose="020B0606020202030204" pitchFamily="34" charset="0"/>
            </a:rPr>
            <a:t>профессиональные пробы</a:t>
          </a:r>
          <a:endParaRPr lang="ru-RU" sz="2000" dirty="0">
            <a:latin typeface="Arial Narrow" panose="020B0606020202030204" pitchFamily="34" charset="0"/>
          </a:endParaRPr>
        </a:p>
      </dgm:t>
    </dgm:pt>
    <dgm:pt modelId="{84193ECB-5EF9-4E1A-9E71-F78E3772631B}" type="parTrans" cxnId="{00792B1F-2A48-4A5D-8CE4-CC5BE0904D1F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ADD5A493-B1D8-40B9-AD6F-898814BD6C2F}" type="sibTrans" cxnId="{00792B1F-2A48-4A5D-8CE4-CC5BE0904D1F}">
      <dgm:prSet/>
      <dgm:spPr/>
      <dgm:t>
        <a:bodyPr/>
        <a:lstStyle/>
        <a:p>
          <a:endParaRPr lang="ru-RU" sz="2000">
            <a:latin typeface="Arial Narrow" panose="020B0606020202030204" pitchFamily="34" charset="0"/>
          </a:endParaRPr>
        </a:p>
      </dgm:t>
    </dgm:pt>
    <dgm:pt modelId="{92F095A6-CB3F-4850-A4B4-CCE0C0DB55F1}" type="pres">
      <dgm:prSet presAssocID="{687D2110-4EC4-493C-A107-14CB77C18B00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03A702C-54C5-4AEC-A7C2-EE75B31B06CD}" type="pres">
      <dgm:prSet presAssocID="{687D2110-4EC4-493C-A107-14CB77C18B00}" presName="hierFlow" presStyleCnt="0"/>
      <dgm:spPr/>
      <dgm:t>
        <a:bodyPr/>
        <a:lstStyle/>
        <a:p>
          <a:endParaRPr lang="ru-RU"/>
        </a:p>
      </dgm:t>
    </dgm:pt>
    <dgm:pt modelId="{41201749-E1BE-42F6-87D2-70AE47C2126F}" type="pres">
      <dgm:prSet presAssocID="{687D2110-4EC4-493C-A107-14CB77C18B00}" presName="hierChild1" presStyleCnt="0">
        <dgm:presLayoutVars>
          <dgm:chPref val="1"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5F3D2EAF-0ECE-4469-88CD-F8E9E9434D19}" type="pres">
      <dgm:prSet presAssocID="{C0E162DB-9387-46E9-813C-F9CCEFC7C311}" presName="Name14" presStyleCnt="0"/>
      <dgm:spPr/>
      <dgm:t>
        <a:bodyPr/>
        <a:lstStyle/>
        <a:p>
          <a:endParaRPr lang="ru-RU"/>
        </a:p>
      </dgm:t>
    </dgm:pt>
    <dgm:pt modelId="{EE90FFF5-FB76-463E-8018-7B6605A785E5}" type="pres">
      <dgm:prSet presAssocID="{C0E162DB-9387-46E9-813C-F9CCEFC7C311}" presName="level1Shape" presStyleLbl="node0" presStyleIdx="0" presStyleCnt="1" custScaleX="160062" custScaleY="7383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61560E80-894D-4620-AE7B-EBAE69213BFD}" type="pres">
      <dgm:prSet presAssocID="{C0E162DB-9387-46E9-813C-F9CCEFC7C311}" presName="hierChild2" presStyleCnt="0"/>
      <dgm:spPr/>
      <dgm:t>
        <a:bodyPr/>
        <a:lstStyle/>
        <a:p>
          <a:endParaRPr lang="ru-RU"/>
        </a:p>
      </dgm:t>
    </dgm:pt>
    <dgm:pt modelId="{B88FFB8A-9D6E-4609-A16E-367679DC68E6}" type="pres">
      <dgm:prSet presAssocID="{EEB2E082-FA09-4A44-8D0B-76FD249D5941}" presName="Name19" presStyleLbl="parChTrans1D2" presStyleIdx="0" presStyleCnt="3"/>
      <dgm:spPr/>
      <dgm:t>
        <a:bodyPr/>
        <a:lstStyle/>
        <a:p>
          <a:endParaRPr lang="ru-RU"/>
        </a:p>
      </dgm:t>
    </dgm:pt>
    <dgm:pt modelId="{A55F04AB-6D02-49EF-9AFD-E73F7A5E6731}" type="pres">
      <dgm:prSet presAssocID="{87D0B9CE-6186-496E-8682-2123632EDEB2}" presName="Name21" presStyleCnt="0"/>
      <dgm:spPr/>
      <dgm:t>
        <a:bodyPr/>
        <a:lstStyle/>
        <a:p>
          <a:endParaRPr lang="ru-RU"/>
        </a:p>
      </dgm:t>
    </dgm:pt>
    <dgm:pt modelId="{40B029CD-2355-4645-AE00-B7E4C4B8E5EF}" type="pres">
      <dgm:prSet presAssocID="{87D0B9CE-6186-496E-8682-2123632EDEB2}" presName="level2Shape" presStyleLbl="node2" presStyleIdx="0" presStyleCnt="3" custScaleX="120159" custScaleY="46286"/>
      <dgm:spPr/>
      <dgm:t>
        <a:bodyPr/>
        <a:lstStyle/>
        <a:p>
          <a:endParaRPr lang="ru-RU"/>
        </a:p>
      </dgm:t>
    </dgm:pt>
    <dgm:pt modelId="{41CD7566-BBB6-4D01-89DA-03D6148B6A86}" type="pres">
      <dgm:prSet presAssocID="{87D0B9CE-6186-496E-8682-2123632EDEB2}" presName="hierChild3" presStyleCnt="0"/>
      <dgm:spPr/>
      <dgm:t>
        <a:bodyPr/>
        <a:lstStyle/>
        <a:p>
          <a:endParaRPr lang="ru-RU"/>
        </a:p>
      </dgm:t>
    </dgm:pt>
    <dgm:pt modelId="{CF4F2A0D-4F2D-43E5-87E3-4D0C98035A9F}" type="pres">
      <dgm:prSet presAssocID="{06D507EE-D8DB-4A4A-B5D2-B2E1AC5516FB}" presName="Name19" presStyleLbl="parChTrans1D3" presStyleIdx="0" presStyleCnt="3"/>
      <dgm:spPr/>
      <dgm:t>
        <a:bodyPr/>
        <a:lstStyle/>
        <a:p>
          <a:endParaRPr lang="ru-RU"/>
        </a:p>
      </dgm:t>
    </dgm:pt>
    <dgm:pt modelId="{C4C3D044-5E09-4FE2-ADC8-61D986B23BAB}" type="pres">
      <dgm:prSet presAssocID="{E2B57318-BC4E-46B7-9284-0269FABEE864}" presName="Name21" presStyleCnt="0"/>
      <dgm:spPr/>
      <dgm:t>
        <a:bodyPr/>
        <a:lstStyle/>
        <a:p>
          <a:endParaRPr lang="ru-RU"/>
        </a:p>
      </dgm:t>
    </dgm:pt>
    <dgm:pt modelId="{C93FC5A2-1304-4383-9F82-F5BEB158C74B}" type="pres">
      <dgm:prSet presAssocID="{E2B57318-BC4E-46B7-9284-0269FABEE864}" presName="level2Shape" presStyleLbl="node3" presStyleIdx="0" presStyleCnt="3" custScaleX="120159" custScaleY="73833"/>
      <dgm:spPr/>
      <dgm:t>
        <a:bodyPr/>
        <a:lstStyle/>
        <a:p>
          <a:endParaRPr lang="ru-RU"/>
        </a:p>
      </dgm:t>
    </dgm:pt>
    <dgm:pt modelId="{128D3A57-7CD5-4E60-8C9C-A74AF7BAA7A9}" type="pres">
      <dgm:prSet presAssocID="{E2B57318-BC4E-46B7-9284-0269FABEE864}" presName="hierChild3" presStyleCnt="0"/>
      <dgm:spPr/>
      <dgm:t>
        <a:bodyPr/>
        <a:lstStyle/>
        <a:p>
          <a:endParaRPr lang="ru-RU"/>
        </a:p>
      </dgm:t>
    </dgm:pt>
    <dgm:pt modelId="{6709BC23-CD66-4C6B-A01C-1248F08DE87B}" type="pres">
      <dgm:prSet presAssocID="{2442B38E-C6E7-4975-9597-6C75BA40B9CD}" presName="Name19" presStyleLbl="parChTrans1D2" presStyleIdx="1" presStyleCnt="3"/>
      <dgm:spPr/>
      <dgm:t>
        <a:bodyPr/>
        <a:lstStyle/>
        <a:p>
          <a:endParaRPr lang="ru-RU"/>
        </a:p>
      </dgm:t>
    </dgm:pt>
    <dgm:pt modelId="{41EA5040-CF03-4562-B911-33B7FD850A7F}" type="pres">
      <dgm:prSet presAssocID="{79C936E5-232F-43A6-BDD0-9337F6297223}" presName="Name21" presStyleCnt="0"/>
      <dgm:spPr/>
      <dgm:t>
        <a:bodyPr/>
        <a:lstStyle/>
        <a:p>
          <a:endParaRPr lang="ru-RU"/>
        </a:p>
      </dgm:t>
    </dgm:pt>
    <dgm:pt modelId="{511C6DEC-355D-4C98-9A5C-F4BF63592011}" type="pres">
      <dgm:prSet presAssocID="{79C936E5-232F-43A6-BDD0-9337F6297223}" presName="level2Shape" presStyleLbl="node2" presStyleIdx="1" presStyleCnt="3" custScaleX="120159" custScaleY="46286"/>
      <dgm:spPr/>
      <dgm:t>
        <a:bodyPr/>
        <a:lstStyle/>
        <a:p>
          <a:endParaRPr lang="ru-RU"/>
        </a:p>
      </dgm:t>
    </dgm:pt>
    <dgm:pt modelId="{52DF7528-7DBD-4A8B-AE4A-11129DFE0DAB}" type="pres">
      <dgm:prSet presAssocID="{79C936E5-232F-43A6-BDD0-9337F6297223}" presName="hierChild3" presStyleCnt="0"/>
      <dgm:spPr/>
      <dgm:t>
        <a:bodyPr/>
        <a:lstStyle/>
        <a:p>
          <a:endParaRPr lang="ru-RU"/>
        </a:p>
      </dgm:t>
    </dgm:pt>
    <dgm:pt modelId="{146C2440-D9CA-447F-8F72-D461F0F8CEE9}" type="pres">
      <dgm:prSet presAssocID="{80C3D2B5-3ACE-46D3-BC5F-A1FB270814A9}" presName="Name19" presStyleLbl="parChTrans1D3" presStyleIdx="1" presStyleCnt="3"/>
      <dgm:spPr/>
      <dgm:t>
        <a:bodyPr/>
        <a:lstStyle/>
        <a:p>
          <a:endParaRPr lang="ru-RU"/>
        </a:p>
      </dgm:t>
    </dgm:pt>
    <dgm:pt modelId="{80706DC1-5642-4586-86B5-EB891F8A0620}" type="pres">
      <dgm:prSet presAssocID="{DA8DB2AF-B001-4C85-B8CB-641F2A53F291}" presName="Name21" presStyleCnt="0"/>
      <dgm:spPr/>
      <dgm:t>
        <a:bodyPr/>
        <a:lstStyle/>
        <a:p>
          <a:endParaRPr lang="ru-RU"/>
        </a:p>
      </dgm:t>
    </dgm:pt>
    <dgm:pt modelId="{613CFF79-C4BC-43DF-A116-18E6D1337233}" type="pres">
      <dgm:prSet presAssocID="{DA8DB2AF-B001-4C85-B8CB-641F2A53F291}" presName="level2Shape" presStyleLbl="node3" presStyleIdx="1" presStyleCnt="3" custScaleX="120159" custScaleY="73833"/>
      <dgm:spPr/>
      <dgm:t>
        <a:bodyPr/>
        <a:lstStyle/>
        <a:p>
          <a:endParaRPr lang="ru-RU"/>
        </a:p>
      </dgm:t>
    </dgm:pt>
    <dgm:pt modelId="{9BDB33E7-38E9-4817-87A0-6408E96F073C}" type="pres">
      <dgm:prSet presAssocID="{DA8DB2AF-B001-4C85-B8CB-641F2A53F291}" presName="hierChild3" presStyleCnt="0"/>
      <dgm:spPr/>
      <dgm:t>
        <a:bodyPr/>
        <a:lstStyle/>
        <a:p>
          <a:endParaRPr lang="ru-RU"/>
        </a:p>
      </dgm:t>
    </dgm:pt>
    <dgm:pt modelId="{31F983FD-DD0B-4ED6-A9AD-1350D8AF6567}" type="pres">
      <dgm:prSet presAssocID="{8E863B38-5858-4F79-BD82-C078F824EEBA}" presName="Name19" presStyleLbl="parChTrans1D2" presStyleIdx="2" presStyleCnt="3"/>
      <dgm:spPr/>
      <dgm:t>
        <a:bodyPr/>
        <a:lstStyle/>
        <a:p>
          <a:endParaRPr lang="ru-RU"/>
        </a:p>
      </dgm:t>
    </dgm:pt>
    <dgm:pt modelId="{6FD42367-F995-46FB-AAAC-299FA74F518F}" type="pres">
      <dgm:prSet presAssocID="{2A2117C6-5C38-4F51-9152-3B7F34473DD8}" presName="Name21" presStyleCnt="0"/>
      <dgm:spPr/>
      <dgm:t>
        <a:bodyPr/>
        <a:lstStyle/>
        <a:p>
          <a:endParaRPr lang="ru-RU"/>
        </a:p>
      </dgm:t>
    </dgm:pt>
    <dgm:pt modelId="{DC648053-4E31-44B9-9E42-6348F642B775}" type="pres">
      <dgm:prSet presAssocID="{2A2117C6-5C38-4F51-9152-3B7F34473DD8}" presName="level2Shape" presStyleLbl="node2" presStyleIdx="2" presStyleCnt="3" custScaleX="120159" custScaleY="46286"/>
      <dgm:spPr/>
      <dgm:t>
        <a:bodyPr/>
        <a:lstStyle/>
        <a:p>
          <a:endParaRPr lang="ru-RU"/>
        </a:p>
      </dgm:t>
    </dgm:pt>
    <dgm:pt modelId="{AA37F30C-D1A8-44D3-9245-8B7F60F6346C}" type="pres">
      <dgm:prSet presAssocID="{2A2117C6-5C38-4F51-9152-3B7F34473DD8}" presName="hierChild3" presStyleCnt="0"/>
      <dgm:spPr/>
      <dgm:t>
        <a:bodyPr/>
        <a:lstStyle/>
        <a:p>
          <a:endParaRPr lang="ru-RU"/>
        </a:p>
      </dgm:t>
    </dgm:pt>
    <dgm:pt modelId="{7231D881-9CB5-43AD-AE22-84BB11C04AED}" type="pres">
      <dgm:prSet presAssocID="{84193ECB-5EF9-4E1A-9E71-F78E3772631B}" presName="Name19" presStyleLbl="parChTrans1D3" presStyleIdx="2" presStyleCnt="3"/>
      <dgm:spPr/>
      <dgm:t>
        <a:bodyPr/>
        <a:lstStyle/>
        <a:p>
          <a:endParaRPr lang="ru-RU"/>
        </a:p>
      </dgm:t>
    </dgm:pt>
    <dgm:pt modelId="{F835D90A-7B66-467C-990F-564D690CFE52}" type="pres">
      <dgm:prSet presAssocID="{2B3AD6A4-B5AB-4AC6-810C-EDCB2CDE5F1B}" presName="Name21" presStyleCnt="0"/>
      <dgm:spPr/>
      <dgm:t>
        <a:bodyPr/>
        <a:lstStyle/>
        <a:p>
          <a:endParaRPr lang="ru-RU"/>
        </a:p>
      </dgm:t>
    </dgm:pt>
    <dgm:pt modelId="{0DB44458-B78F-4F1D-9F91-03B8E41AB7DD}" type="pres">
      <dgm:prSet presAssocID="{2B3AD6A4-B5AB-4AC6-810C-EDCB2CDE5F1B}" presName="level2Shape" presStyleLbl="node3" presStyleIdx="2" presStyleCnt="3" custScaleX="120159" custScaleY="73833"/>
      <dgm:spPr/>
      <dgm:t>
        <a:bodyPr/>
        <a:lstStyle/>
        <a:p>
          <a:endParaRPr lang="ru-RU"/>
        </a:p>
      </dgm:t>
    </dgm:pt>
    <dgm:pt modelId="{F48E1477-B508-41F1-875E-4A30B58A0390}" type="pres">
      <dgm:prSet presAssocID="{2B3AD6A4-B5AB-4AC6-810C-EDCB2CDE5F1B}" presName="hierChild3" presStyleCnt="0"/>
      <dgm:spPr/>
      <dgm:t>
        <a:bodyPr/>
        <a:lstStyle/>
        <a:p>
          <a:endParaRPr lang="ru-RU"/>
        </a:p>
      </dgm:t>
    </dgm:pt>
    <dgm:pt modelId="{9AB33941-4FF6-46BD-8706-49938F379736}" type="pres">
      <dgm:prSet presAssocID="{687D2110-4EC4-493C-A107-14CB77C18B00}" presName="bgShapesFlow" presStyleCnt="0"/>
      <dgm:spPr/>
      <dgm:t>
        <a:bodyPr/>
        <a:lstStyle/>
        <a:p>
          <a:endParaRPr lang="ru-RU"/>
        </a:p>
      </dgm:t>
    </dgm:pt>
  </dgm:ptLst>
  <dgm:cxnLst>
    <dgm:cxn modelId="{A914A7D8-E39B-4190-A5A6-6C96E06C8142}" type="presOf" srcId="{2442B38E-C6E7-4975-9597-6C75BA40B9CD}" destId="{6709BC23-CD66-4C6B-A01C-1248F08DE87B}" srcOrd="0" destOrd="0" presId="urn:microsoft.com/office/officeart/2005/8/layout/hierarchy6"/>
    <dgm:cxn modelId="{DE9A8D88-6FA5-4B6E-ABB2-6402FD7B2B14}" type="presOf" srcId="{C0E162DB-9387-46E9-813C-F9CCEFC7C311}" destId="{EE90FFF5-FB76-463E-8018-7B6605A785E5}" srcOrd="0" destOrd="0" presId="urn:microsoft.com/office/officeart/2005/8/layout/hierarchy6"/>
    <dgm:cxn modelId="{4C773856-4C33-4787-9C56-41FBA2F86B5F}" type="presOf" srcId="{687D2110-4EC4-493C-A107-14CB77C18B00}" destId="{92F095A6-CB3F-4850-A4B4-CCE0C0DB55F1}" srcOrd="0" destOrd="0" presId="urn:microsoft.com/office/officeart/2005/8/layout/hierarchy6"/>
    <dgm:cxn modelId="{9365F90E-A4D4-4A02-A7FC-FF4EB39CAA83}" type="presOf" srcId="{DA8DB2AF-B001-4C85-B8CB-641F2A53F291}" destId="{613CFF79-C4BC-43DF-A116-18E6D1337233}" srcOrd="0" destOrd="0" presId="urn:microsoft.com/office/officeart/2005/8/layout/hierarchy6"/>
    <dgm:cxn modelId="{FA1953CE-EEDC-4BF2-AF28-46C80293A99F}" type="presOf" srcId="{06D507EE-D8DB-4A4A-B5D2-B2E1AC5516FB}" destId="{CF4F2A0D-4F2D-43E5-87E3-4D0C98035A9F}" srcOrd="0" destOrd="0" presId="urn:microsoft.com/office/officeart/2005/8/layout/hierarchy6"/>
    <dgm:cxn modelId="{34A5C729-8911-4D74-86AE-3C7F01F7FCAF}" type="presOf" srcId="{80C3D2B5-3ACE-46D3-BC5F-A1FB270814A9}" destId="{146C2440-D9CA-447F-8F72-D461F0F8CEE9}" srcOrd="0" destOrd="0" presId="urn:microsoft.com/office/officeart/2005/8/layout/hierarchy6"/>
    <dgm:cxn modelId="{00792B1F-2A48-4A5D-8CE4-CC5BE0904D1F}" srcId="{2A2117C6-5C38-4F51-9152-3B7F34473DD8}" destId="{2B3AD6A4-B5AB-4AC6-810C-EDCB2CDE5F1B}" srcOrd="0" destOrd="0" parTransId="{84193ECB-5EF9-4E1A-9E71-F78E3772631B}" sibTransId="{ADD5A493-B1D8-40B9-AD6F-898814BD6C2F}"/>
    <dgm:cxn modelId="{03B0BEBC-362B-41F3-AEE8-47513B08EC04}" srcId="{C0E162DB-9387-46E9-813C-F9CCEFC7C311}" destId="{87D0B9CE-6186-496E-8682-2123632EDEB2}" srcOrd="0" destOrd="0" parTransId="{EEB2E082-FA09-4A44-8D0B-76FD249D5941}" sibTransId="{E0213F51-A596-4E8C-A0EE-DE753D659B5B}"/>
    <dgm:cxn modelId="{2123DC42-C493-4DB8-9CB5-D4DCB681ADD2}" srcId="{687D2110-4EC4-493C-A107-14CB77C18B00}" destId="{C0E162DB-9387-46E9-813C-F9CCEFC7C311}" srcOrd="0" destOrd="0" parTransId="{AC1D66D2-4866-4AA4-8E4C-9407043A7E68}" sibTransId="{98338009-96FD-48F6-847B-DC13EEEBF5AC}"/>
    <dgm:cxn modelId="{499B61C0-CD87-42AF-A45B-E1D5FFDE77F0}" type="presOf" srcId="{8E863B38-5858-4F79-BD82-C078F824EEBA}" destId="{31F983FD-DD0B-4ED6-A9AD-1350D8AF6567}" srcOrd="0" destOrd="0" presId="urn:microsoft.com/office/officeart/2005/8/layout/hierarchy6"/>
    <dgm:cxn modelId="{91BECF3A-DA53-43A5-B912-99BC3C3C3DFD}" srcId="{C0E162DB-9387-46E9-813C-F9CCEFC7C311}" destId="{2A2117C6-5C38-4F51-9152-3B7F34473DD8}" srcOrd="2" destOrd="0" parTransId="{8E863B38-5858-4F79-BD82-C078F824EEBA}" sibTransId="{39F765B4-0CA3-4057-BC73-83F1993C9E8D}"/>
    <dgm:cxn modelId="{D5E7704C-A073-4E25-BAF1-9C12E8B353B2}" type="presOf" srcId="{2B3AD6A4-B5AB-4AC6-810C-EDCB2CDE5F1B}" destId="{0DB44458-B78F-4F1D-9F91-03B8E41AB7DD}" srcOrd="0" destOrd="0" presId="urn:microsoft.com/office/officeart/2005/8/layout/hierarchy6"/>
    <dgm:cxn modelId="{2A910249-E9CC-4F91-A545-F869011E447A}" srcId="{C0E162DB-9387-46E9-813C-F9CCEFC7C311}" destId="{79C936E5-232F-43A6-BDD0-9337F6297223}" srcOrd="1" destOrd="0" parTransId="{2442B38E-C6E7-4975-9597-6C75BA40B9CD}" sibTransId="{F2744A59-FD1F-41B2-B424-21450A630855}"/>
    <dgm:cxn modelId="{08F8415D-C7BB-4293-A206-391B0CAA94F4}" srcId="{79C936E5-232F-43A6-BDD0-9337F6297223}" destId="{DA8DB2AF-B001-4C85-B8CB-641F2A53F291}" srcOrd="0" destOrd="0" parTransId="{80C3D2B5-3ACE-46D3-BC5F-A1FB270814A9}" sibTransId="{918B78BA-41EB-4605-A887-5F64D655D6EE}"/>
    <dgm:cxn modelId="{E5D63025-0567-46BA-95A0-5EB48DF74F50}" type="presOf" srcId="{2A2117C6-5C38-4F51-9152-3B7F34473DD8}" destId="{DC648053-4E31-44B9-9E42-6348F642B775}" srcOrd="0" destOrd="0" presId="urn:microsoft.com/office/officeart/2005/8/layout/hierarchy6"/>
    <dgm:cxn modelId="{129E8DD3-1C7E-459A-8F28-1657C4C8A0AA}" type="presOf" srcId="{87D0B9CE-6186-496E-8682-2123632EDEB2}" destId="{40B029CD-2355-4645-AE00-B7E4C4B8E5EF}" srcOrd="0" destOrd="0" presId="urn:microsoft.com/office/officeart/2005/8/layout/hierarchy6"/>
    <dgm:cxn modelId="{595C0C3F-BD83-4668-AB4F-5F63310434B9}" srcId="{87D0B9CE-6186-496E-8682-2123632EDEB2}" destId="{E2B57318-BC4E-46B7-9284-0269FABEE864}" srcOrd="0" destOrd="0" parTransId="{06D507EE-D8DB-4A4A-B5D2-B2E1AC5516FB}" sibTransId="{B1B6F012-F6E7-4C23-B68A-75B572C0A416}"/>
    <dgm:cxn modelId="{91C36969-77D5-48F6-9E20-75D21C5E8ABA}" type="presOf" srcId="{79C936E5-232F-43A6-BDD0-9337F6297223}" destId="{511C6DEC-355D-4C98-9A5C-F4BF63592011}" srcOrd="0" destOrd="0" presId="urn:microsoft.com/office/officeart/2005/8/layout/hierarchy6"/>
    <dgm:cxn modelId="{1251BC84-DE22-4FD9-B99E-0EC58FFCE37A}" type="presOf" srcId="{84193ECB-5EF9-4E1A-9E71-F78E3772631B}" destId="{7231D881-9CB5-43AD-AE22-84BB11C04AED}" srcOrd="0" destOrd="0" presId="urn:microsoft.com/office/officeart/2005/8/layout/hierarchy6"/>
    <dgm:cxn modelId="{ADC1DF1B-FC7A-4ABE-A50B-8A38053B0751}" type="presOf" srcId="{EEB2E082-FA09-4A44-8D0B-76FD249D5941}" destId="{B88FFB8A-9D6E-4609-A16E-367679DC68E6}" srcOrd="0" destOrd="0" presId="urn:microsoft.com/office/officeart/2005/8/layout/hierarchy6"/>
    <dgm:cxn modelId="{DE49DE06-1097-469E-B19A-E41365267AD0}" type="presOf" srcId="{E2B57318-BC4E-46B7-9284-0269FABEE864}" destId="{C93FC5A2-1304-4383-9F82-F5BEB158C74B}" srcOrd="0" destOrd="0" presId="urn:microsoft.com/office/officeart/2005/8/layout/hierarchy6"/>
    <dgm:cxn modelId="{4E957F75-733B-423E-BF3E-8F520E528E52}" type="presParOf" srcId="{92F095A6-CB3F-4850-A4B4-CCE0C0DB55F1}" destId="{B03A702C-54C5-4AEC-A7C2-EE75B31B06CD}" srcOrd="0" destOrd="0" presId="urn:microsoft.com/office/officeart/2005/8/layout/hierarchy6"/>
    <dgm:cxn modelId="{8E8AB8E9-A421-427E-902F-39CF96A446C6}" type="presParOf" srcId="{B03A702C-54C5-4AEC-A7C2-EE75B31B06CD}" destId="{41201749-E1BE-42F6-87D2-70AE47C2126F}" srcOrd="0" destOrd="0" presId="urn:microsoft.com/office/officeart/2005/8/layout/hierarchy6"/>
    <dgm:cxn modelId="{13FFFB7A-7FB6-47F2-8FD4-651EF34ABD50}" type="presParOf" srcId="{41201749-E1BE-42F6-87D2-70AE47C2126F}" destId="{5F3D2EAF-0ECE-4469-88CD-F8E9E9434D19}" srcOrd="0" destOrd="0" presId="urn:microsoft.com/office/officeart/2005/8/layout/hierarchy6"/>
    <dgm:cxn modelId="{DEEF15A4-A7D6-45A2-9AC4-090CB83FEBD5}" type="presParOf" srcId="{5F3D2EAF-0ECE-4469-88CD-F8E9E9434D19}" destId="{EE90FFF5-FB76-463E-8018-7B6605A785E5}" srcOrd="0" destOrd="0" presId="urn:microsoft.com/office/officeart/2005/8/layout/hierarchy6"/>
    <dgm:cxn modelId="{2050407F-80A0-4321-B37A-221D6F715715}" type="presParOf" srcId="{5F3D2EAF-0ECE-4469-88CD-F8E9E9434D19}" destId="{61560E80-894D-4620-AE7B-EBAE69213BFD}" srcOrd="1" destOrd="0" presId="urn:microsoft.com/office/officeart/2005/8/layout/hierarchy6"/>
    <dgm:cxn modelId="{60101AD9-D45A-453C-AB64-4A450F154368}" type="presParOf" srcId="{61560E80-894D-4620-AE7B-EBAE69213BFD}" destId="{B88FFB8A-9D6E-4609-A16E-367679DC68E6}" srcOrd="0" destOrd="0" presId="urn:microsoft.com/office/officeart/2005/8/layout/hierarchy6"/>
    <dgm:cxn modelId="{9A24EC60-627E-4C6D-884B-E4988E90B7D2}" type="presParOf" srcId="{61560E80-894D-4620-AE7B-EBAE69213BFD}" destId="{A55F04AB-6D02-49EF-9AFD-E73F7A5E6731}" srcOrd="1" destOrd="0" presId="urn:microsoft.com/office/officeart/2005/8/layout/hierarchy6"/>
    <dgm:cxn modelId="{7E632AB4-638F-48F4-BB05-E39409A8F6FB}" type="presParOf" srcId="{A55F04AB-6D02-49EF-9AFD-E73F7A5E6731}" destId="{40B029CD-2355-4645-AE00-B7E4C4B8E5EF}" srcOrd="0" destOrd="0" presId="urn:microsoft.com/office/officeart/2005/8/layout/hierarchy6"/>
    <dgm:cxn modelId="{B5C2847A-5064-4067-87D0-A39C136E4327}" type="presParOf" srcId="{A55F04AB-6D02-49EF-9AFD-E73F7A5E6731}" destId="{41CD7566-BBB6-4D01-89DA-03D6148B6A86}" srcOrd="1" destOrd="0" presId="urn:microsoft.com/office/officeart/2005/8/layout/hierarchy6"/>
    <dgm:cxn modelId="{7D838460-493F-4B3A-826B-3C82EA1CB0C0}" type="presParOf" srcId="{41CD7566-BBB6-4D01-89DA-03D6148B6A86}" destId="{CF4F2A0D-4F2D-43E5-87E3-4D0C98035A9F}" srcOrd="0" destOrd="0" presId="urn:microsoft.com/office/officeart/2005/8/layout/hierarchy6"/>
    <dgm:cxn modelId="{B6B9F7A2-B85B-4848-A02C-79E0829FAD52}" type="presParOf" srcId="{41CD7566-BBB6-4D01-89DA-03D6148B6A86}" destId="{C4C3D044-5E09-4FE2-ADC8-61D986B23BAB}" srcOrd="1" destOrd="0" presId="urn:microsoft.com/office/officeart/2005/8/layout/hierarchy6"/>
    <dgm:cxn modelId="{AA05EBBA-E45A-4877-BDBA-236568E25321}" type="presParOf" srcId="{C4C3D044-5E09-4FE2-ADC8-61D986B23BAB}" destId="{C93FC5A2-1304-4383-9F82-F5BEB158C74B}" srcOrd="0" destOrd="0" presId="urn:microsoft.com/office/officeart/2005/8/layout/hierarchy6"/>
    <dgm:cxn modelId="{985142F1-A5FC-410A-9320-EEE1DBC4D0AD}" type="presParOf" srcId="{C4C3D044-5E09-4FE2-ADC8-61D986B23BAB}" destId="{128D3A57-7CD5-4E60-8C9C-A74AF7BAA7A9}" srcOrd="1" destOrd="0" presId="urn:microsoft.com/office/officeart/2005/8/layout/hierarchy6"/>
    <dgm:cxn modelId="{108EECFC-86BE-40CB-925E-07BF08262D09}" type="presParOf" srcId="{61560E80-894D-4620-AE7B-EBAE69213BFD}" destId="{6709BC23-CD66-4C6B-A01C-1248F08DE87B}" srcOrd="2" destOrd="0" presId="urn:microsoft.com/office/officeart/2005/8/layout/hierarchy6"/>
    <dgm:cxn modelId="{066A4379-5A9C-4A71-BD03-EE0EB5876B8C}" type="presParOf" srcId="{61560E80-894D-4620-AE7B-EBAE69213BFD}" destId="{41EA5040-CF03-4562-B911-33B7FD850A7F}" srcOrd="3" destOrd="0" presId="urn:microsoft.com/office/officeart/2005/8/layout/hierarchy6"/>
    <dgm:cxn modelId="{9A7B500C-C4EC-40B7-8620-7666090D20B4}" type="presParOf" srcId="{41EA5040-CF03-4562-B911-33B7FD850A7F}" destId="{511C6DEC-355D-4C98-9A5C-F4BF63592011}" srcOrd="0" destOrd="0" presId="urn:microsoft.com/office/officeart/2005/8/layout/hierarchy6"/>
    <dgm:cxn modelId="{F71D1235-731F-4C48-881C-826CE2CEF9C5}" type="presParOf" srcId="{41EA5040-CF03-4562-B911-33B7FD850A7F}" destId="{52DF7528-7DBD-4A8B-AE4A-11129DFE0DAB}" srcOrd="1" destOrd="0" presId="urn:microsoft.com/office/officeart/2005/8/layout/hierarchy6"/>
    <dgm:cxn modelId="{91871CD7-C707-4023-A2BC-81D3D92DECD4}" type="presParOf" srcId="{52DF7528-7DBD-4A8B-AE4A-11129DFE0DAB}" destId="{146C2440-D9CA-447F-8F72-D461F0F8CEE9}" srcOrd="0" destOrd="0" presId="urn:microsoft.com/office/officeart/2005/8/layout/hierarchy6"/>
    <dgm:cxn modelId="{467EBA83-A10B-4D2F-ABF5-B2CCCB36FC6F}" type="presParOf" srcId="{52DF7528-7DBD-4A8B-AE4A-11129DFE0DAB}" destId="{80706DC1-5642-4586-86B5-EB891F8A0620}" srcOrd="1" destOrd="0" presId="urn:microsoft.com/office/officeart/2005/8/layout/hierarchy6"/>
    <dgm:cxn modelId="{53CE1D82-F870-4C1C-8D23-D195D73CFDBB}" type="presParOf" srcId="{80706DC1-5642-4586-86B5-EB891F8A0620}" destId="{613CFF79-C4BC-43DF-A116-18E6D1337233}" srcOrd="0" destOrd="0" presId="urn:microsoft.com/office/officeart/2005/8/layout/hierarchy6"/>
    <dgm:cxn modelId="{D292EA67-5DAB-4D92-B2F5-35C2830CC775}" type="presParOf" srcId="{80706DC1-5642-4586-86B5-EB891F8A0620}" destId="{9BDB33E7-38E9-4817-87A0-6408E96F073C}" srcOrd="1" destOrd="0" presId="urn:microsoft.com/office/officeart/2005/8/layout/hierarchy6"/>
    <dgm:cxn modelId="{58003F72-6FF0-4D29-A5EF-5099EB7F208B}" type="presParOf" srcId="{61560E80-894D-4620-AE7B-EBAE69213BFD}" destId="{31F983FD-DD0B-4ED6-A9AD-1350D8AF6567}" srcOrd="4" destOrd="0" presId="urn:microsoft.com/office/officeart/2005/8/layout/hierarchy6"/>
    <dgm:cxn modelId="{586D8A55-51B7-4C3A-98CF-D58C9A9DAD76}" type="presParOf" srcId="{61560E80-894D-4620-AE7B-EBAE69213BFD}" destId="{6FD42367-F995-46FB-AAAC-299FA74F518F}" srcOrd="5" destOrd="0" presId="urn:microsoft.com/office/officeart/2005/8/layout/hierarchy6"/>
    <dgm:cxn modelId="{1E23D613-ED38-4FAE-9B4F-BD86C3C9D7A5}" type="presParOf" srcId="{6FD42367-F995-46FB-AAAC-299FA74F518F}" destId="{DC648053-4E31-44B9-9E42-6348F642B775}" srcOrd="0" destOrd="0" presId="urn:microsoft.com/office/officeart/2005/8/layout/hierarchy6"/>
    <dgm:cxn modelId="{98268EE8-2ED1-4F23-8716-1FE265584E97}" type="presParOf" srcId="{6FD42367-F995-46FB-AAAC-299FA74F518F}" destId="{AA37F30C-D1A8-44D3-9245-8B7F60F6346C}" srcOrd="1" destOrd="0" presId="urn:microsoft.com/office/officeart/2005/8/layout/hierarchy6"/>
    <dgm:cxn modelId="{F5F171D7-15F1-4DD5-ACDD-9D6DB25A7BE6}" type="presParOf" srcId="{AA37F30C-D1A8-44D3-9245-8B7F60F6346C}" destId="{7231D881-9CB5-43AD-AE22-84BB11C04AED}" srcOrd="0" destOrd="0" presId="urn:microsoft.com/office/officeart/2005/8/layout/hierarchy6"/>
    <dgm:cxn modelId="{9AC940B4-79D7-4418-80D7-A12EC1E3419B}" type="presParOf" srcId="{AA37F30C-D1A8-44D3-9245-8B7F60F6346C}" destId="{F835D90A-7B66-467C-990F-564D690CFE52}" srcOrd="1" destOrd="0" presId="urn:microsoft.com/office/officeart/2005/8/layout/hierarchy6"/>
    <dgm:cxn modelId="{81C94344-E15C-48C8-ABC2-0A257A7F86AD}" type="presParOf" srcId="{F835D90A-7B66-467C-990F-564D690CFE52}" destId="{0DB44458-B78F-4F1D-9F91-03B8E41AB7DD}" srcOrd="0" destOrd="0" presId="urn:microsoft.com/office/officeart/2005/8/layout/hierarchy6"/>
    <dgm:cxn modelId="{F1A2F6F3-DE8B-4615-8863-276FDC59228F}" type="presParOf" srcId="{F835D90A-7B66-467C-990F-564D690CFE52}" destId="{F48E1477-B508-41F1-875E-4A30B58A0390}" srcOrd="1" destOrd="0" presId="urn:microsoft.com/office/officeart/2005/8/layout/hierarchy6"/>
    <dgm:cxn modelId="{6FE5582A-A59E-4DBE-9297-DF4D8EFD1CFD}" type="presParOf" srcId="{92F095A6-CB3F-4850-A4B4-CCE0C0DB55F1}" destId="{9AB33941-4FF6-46BD-8706-49938F379736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028118B-9595-4674-AED8-B128B336610C}" type="doc">
      <dgm:prSet loTypeId="urn:microsoft.com/office/officeart/2005/8/layout/defaul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AE447395-F70E-4614-8A4C-B9CC6DEA0ADE}">
      <dgm:prSet phldrT="[Текст]" custT="1"/>
      <dgm:spPr/>
      <dgm:t>
        <a:bodyPr/>
        <a:lstStyle/>
        <a:p>
          <a:r>
            <a:rPr lang="ru-RU" sz="3200" dirty="0" smtClean="0"/>
            <a:t>Локальная модель</a:t>
          </a:r>
          <a:endParaRPr lang="ru-RU" sz="3200" dirty="0"/>
        </a:p>
      </dgm:t>
    </dgm:pt>
    <dgm:pt modelId="{1BC58512-623E-4B8F-BF6A-132C0503145F}" type="parTrans" cxnId="{6F73EB9F-58DF-4490-9C35-232A013320AE}">
      <dgm:prSet/>
      <dgm:spPr/>
      <dgm:t>
        <a:bodyPr/>
        <a:lstStyle/>
        <a:p>
          <a:endParaRPr lang="ru-RU" sz="1000"/>
        </a:p>
      </dgm:t>
    </dgm:pt>
    <dgm:pt modelId="{FCE6BF91-DBF0-477F-9A8D-7B1837993B23}" type="sibTrans" cxnId="{6F73EB9F-58DF-4490-9C35-232A013320AE}">
      <dgm:prSet/>
      <dgm:spPr/>
      <dgm:t>
        <a:bodyPr/>
        <a:lstStyle/>
        <a:p>
          <a:endParaRPr lang="ru-RU" sz="1000"/>
        </a:p>
      </dgm:t>
    </dgm:pt>
    <dgm:pt modelId="{B087D762-F8F5-4CEA-866F-D62D183F10D2}">
      <dgm:prSet phldrT="[Текст]" custT="1"/>
      <dgm:spPr/>
      <dgm:t>
        <a:bodyPr/>
        <a:lstStyle/>
        <a:p>
          <a:r>
            <a:rPr lang="ru-RU" sz="3200" dirty="0" smtClean="0"/>
            <a:t>Сетевая модель</a:t>
          </a:r>
          <a:endParaRPr lang="ru-RU" sz="3200" dirty="0"/>
        </a:p>
      </dgm:t>
    </dgm:pt>
    <dgm:pt modelId="{C338BF12-7C2D-43E1-B0AF-BB97CDB00246}" type="parTrans" cxnId="{E0F15D75-8759-4354-AB98-5B9160CBF48C}">
      <dgm:prSet/>
      <dgm:spPr/>
      <dgm:t>
        <a:bodyPr/>
        <a:lstStyle/>
        <a:p>
          <a:endParaRPr lang="ru-RU" sz="1000"/>
        </a:p>
      </dgm:t>
    </dgm:pt>
    <dgm:pt modelId="{50EC856B-3224-4CF2-8C80-8077AEF228BB}" type="sibTrans" cxnId="{E0F15D75-8759-4354-AB98-5B9160CBF48C}">
      <dgm:prSet/>
      <dgm:spPr/>
      <dgm:t>
        <a:bodyPr/>
        <a:lstStyle/>
        <a:p>
          <a:endParaRPr lang="ru-RU" sz="1000"/>
        </a:p>
      </dgm:t>
    </dgm:pt>
    <dgm:pt modelId="{3016E775-F17B-4A92-9D1A-BC5628B0B659}" type="pres">
      <dgm:prSet presAssocID="{C028118B-9595-4674-AED8-B128B336610C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C13E2EF-6289-4F0C-82E3-5A8338DCF3A6}" type="pres">
      <dgm:prSet presAssocID="{AE447395-F70E-4614-8A4C-B9CC6DEA0ADE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66DFF1-E494-4F67-872B-21020405B296}" type="pres">
      <dgm:prSet presAssocID="{FCE6BF91-DBF0-477F-9A8D-7B1837993B23}" presName="sibTrans" presStyleCnt="0"/>
      <dgm:spPr/>
    </dgm:pt>
    <dgm:pt modelId="{0AEFDF07-6E39-4CB7-B587-6B239CD293B5}" type="pres">
      <dgm:prSet presAssocID="{B087D762-F8F5-4CEA-866F-D62D183F10D2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9CA836A-465B-436B-AFC8-8B41C528770B}" type="presOf" srcId="{C028118B-9595-4674-AED8-B128B336610C}" destId="{3016E775-F17B-4A92-9D1A-BC5628B0B659}" srcOrd="0" destOrd="0" presId="urn:microsoft.com/office/officeart/2005/8/layout/default"/>
    <dgm:cxn modelId="{EF1D7016-6E8E-48F6-9C59-0756DE99D851}" type="presOf" srcId="{AE447395-F70E-4614-8A4C-B9CC6DEA0ADE}" destId="{2C13E2EF-6289-4F0C-82E3-5A8338DCF3A6}" srcOrd="0" destOrd="0" presId="urn:microsoft.com/office/officeart/2005/8/layout/default"/>
    <dgm:cxn modelId="{6F73EB9F-58DF-4490-9C35-232A013320AE}" srcId="{C028118B-9595-4674-AED8-B128B336610C}" destId="{AE447395-F70E-4614-8A4C-B9CC6DEA0ADE}" srcOrd="0" destOrd="0" parTransId="{1BC58512-623E-4B8F-BF6A-132C0503145F}" sibTransId="{FCE6BF91-DBF0-477F-9A8D-7B1837993B23}"/>
    <dgm:cxn modelId="{A47D079E-099D-4E6B-A61F-AB888F875354}" type="presOf" srcId="{B087D762-F8F5-4CEA-866F-D62D183F10D2}" destId="{0AEFDF07-6E39-4CB7-B587-6B239CD293B5}" srcOrd="0" destOrd="0" presId="urn:microsoft.com/office/officeart/2005/8/layout/default"/>
    <dgm:cxn modelId="{E0F15D75-8759-4354-AB98-5B9160CBF48C}" srcId="{C028118B-9595-4674-AED8-B128B336610C}" destId="{B087D762-F8F5-4CEA-866F-D62D183F10D2}" srcOrd="1" destOrd="0" parTransId="{C338BF12-7C2D-43E1-B0AF-BB97CDB00246}" sibTransId="{50EC856B-3224-4CF2-8C80-8077AEF228BB}"/>
    <dgm:cxn modelId="{356EC9B6-344E-4B28-8C68-DB04028197BD}" type="presParOf" srcId="{3016E775-F17B-4A92-9D1A-BC5628B0B659}" destId="{2C13E2EF-6289-4F0C-82E3-5A8338DCF3A6}" srcOrd="0" destOrd="0" presId="urn:microsoft.com/office/officeart/2005/8/layout/default"/>
    <dgm:cxn modelId="{E974461D-DF49-41C7-9D7D-35E9170777FD}" type="presParOf" srcId="{3016E775-F17B-4A92-9D1A-BC5628B0B659}" destId="{6E66DFF1-E494-4F67-872B-21020405B296}" srcOrd="1" destOrd="0" presId="urn:microsoft.com/office/officeart/2005/8/layout/default"/>
    <dgm:cxn modelId="{E1BB20F0-E49F-4658-87B1-A686E0D139F4}" type="presParOf" srcId="{3016E775-F17B-4A92-9D1A-BC5628B0B659}" destId="{0AEFDF07-6E39-4CB7-B587-6B239CD293B5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F0E2289-6E3D-4C80-BDC3-03D404044BA8}" type="doc">
      <dgm:prSet loTypeId="urn:microsoft.com/office/officeart/2005/8/layout/vList2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5C6E2D48-A15A-4FB5-98FE-E2D872636AFD}">
      <dgm:prSet custT="1"/>
      <dgm:spPr>
        <a:xfrm>
          <a:off x="0" y="24709"/>
          <a:ext cx="7522804" cy="1193400"/>
        </a:xfrm>
        <a:prstGeom prst="roundRect">
          <a:avLst/>
        </a:prstGeom>
        <a:solidFill>
          <a:srgbClr val="8064A2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rtl="0"/>
          <a:r>
            <a:rPr lang="ru-RU" sz="3200" b="1" dirty="0" smtClean="0">
              <a:solidFill>
                <a:sysClr val="window" lastClr="FFFFFF"/>
              </a:solidFill>
              <a:latin typeface="+mj-lt"/>
              <a:ea typeface="+mn-ea"/>
              <a:cs typeface="+mn-cs"/>
            </a:rPr>
            <a:t>Содержательные блоки предметной области «Технология» </a:t>
          </a:r>
          <a:endParaRPr lang="ru-RU" sz="3200" b="1" dirty="0">
            <a:solidFill>
              <a:sysClr val="window" lastClr="FFFFFF"/>
            </a:solidFill>
            <a:latin typeface="+mj-lt"/>
            <a:ea typeface="+mn-ea"/>
            <a:cs typeface="+mn-cs"/>
          </a:endParaRPr>
        </a:p>
      </dgm:t>
    </dgm:pt>
    <dgm:pt modelId="{20AD6B36-2994-4DB8-AC8F-DCEF7490340B}" type="parTrans" cxnId="{A405C8C8-7BBB-45DB-8F12-B178A898E4FE}">
      <dgm:prSet/>
      <dgm:spPr/>
      <dgm:t>
        <a:bodyPr/>
        <a:lstStyle/>
        <a:p>
          <a:endParaRPr lang="ru-RU"/>
        </a:p>
      </dgm:t>
    </dgm:pt>
    <dgm:pt modelId="{D9D8F3A8-AD26-4F52-9EA4-A7E2AEB39340}" type="sibTrans" cxnId="{A405C8C8-7BBB-45DB-8F12-B178A898E4FE}">
      <dgm:prSet/>
      <dgm:spPr/>
      <dgm:t>
        <a:bodyPr/>
        <a:lstStyle/>
        <a:p>
          <a:endParaRPr lang="ru-RU"/>
        </a:p>
      </dgm:t>
    </dgm:pt>
    <dgm:pt modelId="{08C281BC-080A-43D6-952C-9F9617140250}">
      <dgm:prSet custT="1"/>
      <dgm:spPr>
        <a:xfrm>
          <a:off x="0" y="1218109"/>
          <a:ext cx="7522804" cy="2173500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 rtl="0">
            <a:spcBef>
              <a:spcPts val="1200"/>
            </a:spcBef>
            <a:spcAft>
              <a:spcPts val="1200"/>
            </a:spcAft>
          </a:pPr>
          <a:r>
            <a:rPr lang="ru-RU" sz="28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rPr>
            <a:t>Современные материальные, информационные и гуманитарные технологии и перспективы их развития</a:t>
          </a:r>
          <a:endParaRPr lang="ru-RU" sz="2800" dirty="0">
            <a:solidFill>
              <a:schemeClr val="tx1">
                <a:lumMod val="65000"/>
                <a:lumOff val="35000"/>
              </a:schemeClr>
            </a:solidFill>
            <a:latin typeface="+mj-lt"/>
            <a:ea typeface="+mn-ea"/>
            <a:cs typeface="+mn-cs"/>
          </a:endParaRPr>
        </a:p>
      </dgm:t>
    </dgm:pt>
    <dgm:pt modelId="{D962D214-C026-474B-A88D-BFA0DC620D7C}" type="parTrans" cxnId="{94B495BB-A58F-474C-B21F-B4807E3AB68A}">
      <dgm:prSet/>
      <dgm:spPr/>
      <dgm:t>
        <a:bodyPr/>
        <a:lstStyle/>
        <a:p>
          <a:endParaRPr lang="ru-RU"/>
        </a:p>
      </dgm:t>
    </dgm:pt>
    <dgm:pt modelId="{032E1CE0-83C4-4540-9031-4F5B2505C603}" type="sibTrans" cxnId="{94B495BB-A58F-474C-B21F-B4807E3AB68A}">
      <dgm:prSet/>
      <dgm:spPr/>
      <dgm:t>
        <a:bodyPr/>
        <a:lstStyle/>
        <a:p>
          <a:endParaRPr lang="ru-RU"/>
        </a:p>
      </dgm:t>
    </dgm:pt>
    <dgm:pt modelId="{B4C7F1E3-B1F4-431E-934B-6934D55D310C}">
      <dgm:prSet custT="1"/>
      <dgm:spPr>
        <a:xfrm>
          <a:off x="0" y="1218109"/>
          <a:ext cx="7522804" cy="2173500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 rtl="0">
            <a:spcBef>
              <a:spcPct val="0"/>
            </a:spcBef>
            <a:spcAft>
              <a:spcPct val="20000"/>
            </a:spcAft>
          </a:pPr>
          <a:r>
            <a:rPr lang="ru-RU" sz="28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rPr>
            <a:t>Построение образовательных траекторий и планов в области профессионального самоопределения</a:t>
          </a:r>
          <a:endParaRPr lang="ru-RU" sz="2800" dirty="0">
            <a:solidFill>
              <a:schemeClr val="tx1">
                <a:lumMod val="65000"/>
                <a:lumOff val="35000"/>
              </a:schemeClr>
            </a:solidFill>
            <a:latin typeface="+mj-lt"/>
            <a:ea typeface="+mn-ea"/>
            <a:cs typeface="+mn-cs"/>
          </a:endParaRPr>
        </a:p>
      </dgm:t>
    </dgm:pt>
    <dgm:pt modelId="{0DB3AA72-5ECC-423F-A0BD-0D41A4D1D5DD}" type="parTrans" cxnId="{A951D409-D10D-4561-B02B-FEDB1BCD82D4}">
      <dgm:prSet/>
      <dgm:spPr/>
      <dgm:t>
        <a:bodyPr/>
        <a:lstStyle/>
        <a:p>
          <a:endParaRPr lang="ru-RU"/>
        </a:p>
      </dgm:t>
    </dgm:pt>
    <dgm:pt modelId="{C5F4A6D3-DF93-4FAB-BD89-6395FC624487}" type="sibTrans" cxnId="{A951D409-D10D-4561-B02B-FEDB1BCD82D4}">
      <dgm:prSet/>
      <dgm:spPr/>
      <dgm:t>
        <a:bodyPr/>
        <a:lstStyle/>
        <a:p>
          <a:endParaRPr lang="ru-RU"/>
        </a:p>
      </dgm:t>
    </dgm:pt>
    <dgm:pt modelId="{53820AD0-1CC9-44E9-91AD-B00D7AC541D2}">
      <dgm:prSet custT="1"/>
      <dgm:spPr>
        <a:xfrm>
          <a:off x="0" y="1218109"/>
          <a:ext cx="7522804" cy="2173500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 rtl="0">
            <a:spcBef>
              <a:spcPts val="1200"/>
            </a:spcBef>
            <a:spcAft>
              <a:spcPts val="1200"/>
            </a:spcAft>
          </a:pPr>
          <a:r>
            <a:rPr lang="ru-RU" sz="28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rPr>
            <a:t>Формирование технологической культуры и проектно-технологического мышления обучающихся</a:t>
          </a:r>
          <a:endParaRPr lang="ru-RU" sz="2800" dirty="0">
            <a:solidFill>
              <a:schemeClr val="tx1">
                <a:lumMod val="65000"/>
                <a:lumOff val="35000"/>
              </a:schemeClr>
            </a:solidFill>
            <a:latin typeface="+mj-lt"/>
            <a:ea typeface="+mn-ea"/>
            <a:cs typeface="+mn-cs"/>
          </a:endParaRPr>
        </a:p>
      </dgm:t>
    </dgm:pt>
    <dgm:pt modelId="{5AD2833A-F318-4B1C-94C6-A26EE7232F6D}" type="sibTrans" cxnId="{E0EC69D2-DA9A-4366-9C01-72EFE01DB9E7}">
      <dgm:prSet/>
      <dgm:spPr/>
      <dgm:t>
        <a:bodyPr/>
        <a:lstStyle/>
        <a:p>
          <a:endParaRPr lang="ru-RU"/>
        </a:p>
      </dgm:t>
    </dgm:pt>
    <dgm:pt modelId="{2EF7D405-3896-41FF-94C2-68AF8D10B0CF}" type="parTrans" cxnId="{E0EC69D2-DA9A-4366-9C01-72EFE01DB9E7}">
      <dgm:prSet/>
      <dgm:spPr/>
      <dgm:t>
        <a:bodyPr/>
        <a:lstStyle/>
        <a:p>
          <a:endParaRPr lang="ru-RU"/>
        </a:p>
      </dgm:t>
    </dgm:pt>
    <dgm:pt modelId="{81877FB0-2E02-46FF-878E-D4B0E1949C81}" type="pres">
      <dgm:prSet presAssocID="{9F0E2289-6E3D-4C80-BDC3-03D404044BA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9008AB2-44F9-4E28-B845-E29C4F2328D4}" type="pres">
      <dgm:prSet presAssocID="{5C6E2D48-A15A-4FB5-98FE-E2D872636AFD}" presName="parentText" presStyleLbl="node1" presStyleIdx="0" presStyleCnt="1" custScaleY="113676" custLinFactNeighborX="143" custLinFactNeighborY="-69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283B38-2BC8-4E21-8B95-69665B0B9F50}" type="pres">
      <dgm:prSet presAssocID="{5C6E2D48-A15A-4FB5-98FE-E2D872636AFD}" presName="childText" presStyleLbl="revTx" presStyleIdx="0" presStyleCnt="1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</dgm:ptLst>
  <dgm:cxnLst>
    <dgm:cxn modelId="{94B495BB-A58F-474C-B21F-B4807E3AB68A}" srcId="{5C6E2D48-A15A-4FB5-98FE-E2D872636AFD}" destId="{08C281BC-080A-43D6-952C-9F9617140250}" srcOrd="0" destOrd="0" parTransId="{D962D214-C026-474B-A88D-BFA0DC620D7C}" sibTransId="{032E1CE0-83C4-4540-9031-4F5B2505C603}"/>
    <dgm:cxn modelId="{E0EC69D2-DA9A-4366-9C01-72EFE01DB9E7}" srcId="{5C6E2D48-A15A-4FB5-98FE-E2D872636AFD}" destId="{53820AD0-1CC9-44E9-91AD-B00D7AC541D2}" srcOrd="1" destOrd="0" parTransId="{2EF7D405-3896-41FF-94C2-68AF8D10B0CF}" sibTransId="{5AD2833A-F318-4B1C-94C6-A26EE7232F6D}"/>
    <dgm:cxn modelId="{A951D409-D10D-4561-B02B-FEDB1BCD82D4}" srcId="{5C6E2D48-A15A-4FB5-98FE-E2D872636AFD}" destId="{B4C7F1E3-B1F4-431E-934B-6934D55D310C}" srcOrd="2" destOrd="0" parTransId="{0DB3AA72-5ECC-423F-A0BD-0D41A4D1D5DD}" sibTransId="{C5F4A6D3-DF93-4FAB-BD89-6395FC624487}"/>
    <dgm:cxn modelId="{62DC2E1B-7473-4521-AB61-C78B9818C1A5}" type="presOf" srcId="{53820AD0-1CC9-44E9-91AD-B00D7AC541D2}" destId="{D3283B38-2BC8-4E21-8B95-69665B0B9F50}" srcOrd="0" destOrd="1" presId="urn:microsoft.com/office/officeart/2005/8/layout/vList2"/>
    <dgm:cxn modelId="{F2CE0003-952D-46FC-9FE1-B67B76280A67}" type="presOf" srcId="{08C281BC-080A-43D6-952C-9F9617140250}" destId="{D3283B38-2BC8-4E21-8B95-69665B0B9F50}" srcOrd="0" destOrd="0" presId="urn:microsoft.com/office/officeart/2005/8/layout/vList2"/>
    <dgm:cxn modelId="{80B85548-053A-4829-96FE-558F868FBCF4}" type="presOf" srcId="{B4C7F1E3-B1F4-431E-934B-6934D55D310C}" destId="{D3283B38-2BC8-4E21-8B95-69665B0B9F50}" srcOrd="0" destOrd="2" presId="urn:microsoft.com/office/officeart/2005/8/layout/vList2"/>
    <dgm:cxn modelId="{A405C8C8-7BBB-45DB-8F12-B178A898E4FE}" srcId="{9F0E2289-6E3D-4C80-BDC3-03D404044BA8}" destId="{5C6E2D48-A15A-4FB5-98FE-E2D872636AFD}" srcOrd="0" destOrd="0" parTransId="{20AD6B36-2994-4DB8-AC8F-DCEF7490340B}" sibTransId="{D9D8F3A8-AD26-4F52-9EA4-A7E2AEB39340}"/>
    <dgm:cxn modelId="{D3D04D25-75B8-42AD-BB1E-DCED3CFB984D}" type="presOf" srcId="{5C6E2D48-A15A-4FB5-98FE-E2D872636AFD}" destId="{79008AB2-44F9-4E28-B845-E29C4F2328D4}" srcOrd="0" destOrd="0" presId="urn:microsoft.com/office/officeart/2005/8/layout/vList2"/>
    <dgm:cxn modelId="{2D9C1F89-278B-44E0-9C7F-431134B1ABA9}" type="presOf" srcId="{9F0E2289-6E3D-4C80-BDC3-03D404044BA8}" destId="{81877FB0-2E02-46FF-878E-D4B0E1949C81}" srcOrd="0" destOrd="0" presId="urn:microsoft.com/office/officeart/2005/8/layout/vList2"/>
    <dgm:cxn modelId="{C8CF3D95-4EEF-41F8-8F88-4909D95D3C02}" type="presParOf" srcId="{81877FB0-2E02-46FF-878E-D4B0E1949C81}" destId="{79008AB2-44F9-4E28-B845-E29C4F2328D4}" srcOrd="0" destOrd="0" presId="urn:microsoft.com/office/officeart/2005/8/layout/vList2"/>
    <dgm:cxn modelId="{FB69FEDB-9678-42DD-A8EB-852758A8E5D6}" type="presParOf" srcId="{81877FB0-2E02-46FF-878E-D4B0E1949C81}" destId="{D3283B38-2BC8-4E21-8B95-69665B0B9F50}" srcOrd="1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Shape 521"/>
          <p:cNvSpPr>
            <a:spLocks noGrp="1" noRot="1" noChangeAspect="1"/>
          </p:cNvSpPr>
          <p:nvPr>
            <p:ph type="sldImg"/>
          </p:nvPr>
        </p:nvSpPr>
        <p:spPr>
          <a:xfrm>
            <a:off x="2706688" y="511175"/>
            <a:ext cx="4533900" cy="2551113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522" name="Shape 522"/>
          <p:cNvSpPr>
            <a:spLocks noGrp="1"/>
          </p:cNvSpPr>
          <p:nvPr>
            <p:ph type="body" sz="quarter" idx="1"/>
          </p:nvPr>
        </p:nvSpPr>
        <p:spPr>
          <a:xfrm>
            <a:off x="1325881" y="3232667"/>
            <a:ext cx="7292340" cy="3062526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5429596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228600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1pPr>
    <a:lvl2pPr indent="114300" defTabSz="228600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2pPr>
    <a:lvl3pPr indent="228600" defTabSz="228600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3pPr>
    <a:lvl4pPr indent="342900" defTabSz="228600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4pPr>
    <a:lvl5pPr indent="457200" defTabSz="228600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5pPr>
    <a:lvl6pPr indent="571500" defTabSz="228600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6pPr>
    <a:lvl7pPr indent="685800" defTabSz="228600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7pPr>
    <a:lvl8pPr indent="800100" defTabSz="228600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8pPr>
    <a:lvl9pPr indent="914400" defTabSz="228600" latinLnBrk="0">
      <a:lnSpc>
        <a:spcPct val="117999"/>
      </a:lnSpc>
      <a:defRPr sz="11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631975" y="6464463"/>
            <a:ext cx="4309806" cy="340064"/>
          </a:xfrm>
          <a:prstGeom prst="rect">
            <a:avLst/>
          </a:prstGeom>
        </p:spPr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78884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ект «Успех каждого ребёнка» призван помочь каждому понять своё предназначение, найти любимое дело, получать удовольствие от работы, стать счастливым. Какие же условия способствуют достижению успеха? </a:t>
            </a:r>
          </a:p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вою задачу, прежде всего, мы видим в том, чтобы помочь всем детям быть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доровыми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вести активный образ жизни, заниматься физкультурой и спортом. </a:t>
            </a:r>
          </a:p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мочь детям найти себя, раскрыть свой потенциал, состояться в профессиональной деятельности призвана система проб: свободно выбираемые занятия во второй половине дня 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неурочная деятельность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ополнительное образование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истема профессиональных тестов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а на старшей ступни 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авильно выбранный профиль.</a:t>
            </a:r>
            <a:endParaRPr lang="ru-RU" sz="2400" b="1" dirty="0" smtClean="0"/>
          </a:p>
          <a:p>
            <a:endParaRPr lang="ru-RU" sz="2400" b="1" dirty="0" smtClean="0"/>
          </a:p>
          <a:p>
            <a:r>
              <a:rPr lang="ru-RU" sz="2400" b="1" dirty="0" smtClean="0"/>
              <a:t>Успех каждого ребенка</a:t>
            </a:r>
          </a:p>
          <a:p>
            <a:r>
              <a:rPr lang="ru-RU" sz="2400" dirty="0" smtClean="0"/>
              <a:t>Построение индивидуальных учебных планов</a:t>
            </a:r>
          </a:p>
          <a:p>
            <a:r>
              <a:rPr lang="ru-RU" sz="2400" dirty="0" smtClean="0"/>
              <a:t>Реализация дополнительных общеобразовательных</a:t>
            </a:r>
            <a:r>
              <a:rPr lang="ru-RU" sz="2400" baseline="0" dirty="0" smtClean="0"/>
              <a:t> </a:t>
            </a:r>
            <a:r>
              <a:rPr lang="ru-RU" sz="2400" dirty="0" smtClean="0"/>
              <a:t>программ («</a:t>
            </a:r>
            <a:r>
              <a:rPr lang="ru-RU" sz="2400" dirty="0" err="1" smtClean="0"/>
              <a:t>Кванториумы</a:t>
            </a:r>
            <a:r>
              <a:rPr lang="ru-RU" sz="2400" dirty="0" smtClean="0"/>
              <a:t>» в каждом регионе, </a:t>
            </a:r>
            <a:r>
              <a:rPr lang="ru-RU" sz="2400" dirty="0" err="1" smtClean="0"/>
              <a:t>ЦМИТы</a:t>
            </a:r>
            <a:r>
              <a:rPr lang="ru-RU" sz="2400" dirty="0" smtClean="0"/>
              <a:t>)</a:t>
            </a:r>
          </a:p>
          <a:p>
            <a:r>
              <a:rPr lang="ru-RU" sz="2400" dirty="0" smtClean="0"/>
              <a:t>Обеспечение участия детей в открытых онлайн-уроках,  направленных на раннюю профориентацию (социально-профессиональные пробы, социальные практики)</a:t>
            </a:r>
          </a:p>
          <a:p>
            <a:endParaRPr lang="ru-RU" sz="2400" b="1" dirty="0" smtClean="0"/>
          </a:p>
          <a:p>
            <a:r>
              <a:rPr lang="ru-RU" sz="2400" b="1" dirty="0" smtClean="0"/>
              <a:t>Главные цифры проекта (к 2024 году):</a:t>
            </a:r>
          </a:p>
          <a:p>
            <a:r>
              <a:rPr lang="ru-RU" dirty="0" smtClean="0"/>
              <a:t>создание в 85 субъектах России региональных центров выявления, поддержки и развития способностей и талантов у детей и </a:t>
            </a:r>
            <a:r>
              <a:rPr lang="ru-RU" dirty="0" err="1" smtClean="0"/>
              <a:t>молодежи</a:t>
            </a:r>
            <a:r>
              <a:rPr lang="ru-RU" dirty="0" smtClean="0"/>
              <a:t>, </a:t>
            </a:r>
          </a:p>
          <a:p>
            <a:r>
              <a:rPr lang="ru-RU" dirty="0" smtClean="0"/>
              <a:t>обновление материально-технической базы в сельской местности для занятий физкультурой и спортом для 935 тысяч детей, </a:t>
            </a:r>
          </a:p>
          <a:p>
            <a:r>
              <a:rPr lang="ru-RU" dirty="0" smtClean="0"/>
              <a:t>создание 245 детских технопарков «</a:t>
            </a:r>
            <a:r>
              <a:rPr lang="ru-RU" dirty="0" err="1" smtClean="0"/>
              <a:t>Кванториум</a:t>
            </a:r>
            <a:r>
              <a:rPr lang="ru-RU" dirty="0" smtClean="0"/>
              <a:t>» и 340 мобильных технопарков «</a:t>
            </a:r>
            <a:r>
              <a:rPr lang="ru-RU" dirty="0" err="1" smtClean="0"/>
              <a:t>Кванториум</a:t>
            </a:r>
            <a:r>
              <a:rPr lang="ru-RU" dirty="0" smtClean="0"/>
              <a:t>» для 2 млн детей, </a:t>
            </a:r>
          </a:p>
          <a:p>
            <a:r>
              <a:rPr lang="ru-RU" dirty="0" smtClean="0"/>
              <a:t>охват дополнительными общеобразовательными программами не менее 70% детей с ограниченными возможностями здоровья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631975" y="6464463"/>
            <a:ext cx="4309806" cy="340064"/>
          </a:xfrm>
          <a:prstGeom prst="rect">
            <a:avLst/>
          </a:prstGeom>
        </p:spPr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11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232749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Цифровая образовательная среда</a:t>
            </a:r>
          </a:p>
          <a:p>
            <a:r>
              <a:rPr lang="ru-RU" dirty="0" smtClean="0"/>
              <a:t>Внедрение цифровой образовательной среды</a:t>
            </a:r>
          </a:p>
          <a:p>
            <a:r>
              <a:rPr lang="ru-RU" dirty="0" smtClean="0"/>
              <a:t>Повышение квалификации педагогов в области  технологий онлайн-обучения.</a:t>
            </a:r>
          </a:p>
          <a:p>
            <a:endParaRPr lang="ru-RU" dirty="0" smtClean="0"/>
          </a:p>
          <a:p>
            <a:pPr marL="0" indent="0">
              <a:buNone/>
            </a:pPr>
            <a:r>
              <a:rPr lang="ru-RU" sz="2400" b="1" dirty="0" smtClean="0"/>
              <a:t>Главные цифры проекта (к 2024 году):</a:t>
            </a:r>
          </a:p>
          <a:p>
            <a:r>
              <a:rPr lang="ru-RU" b="0" dirty="0" smtClean="0"/>
              <a:t>внедрение целевой модели цифровой образовательной среды по всей стране</a:t>
            </a:r>
          </a:p>
          <a:p>
            <a:r>
              <a:rPr lang="ru-RU" b="0" dirty="0" smtClean="0"/>
              <a:t>внедрение современных цифровых технологий в образовательные программы 25% общеобразовательных организаций 75 субъектов Российской Федерации для как минимум 500 тысяч детей</a:t>
            </a:r>
          </a:p>
          <a:p>
            <a:r>
              <a:rPr lang="ru-RU" b="0" dirty="0" smtClean="0"/>
              <a:t>обеспечение 100% образовательных организаций в городах Интернетом со скоростью соединения не менее 100 Мб/с, в сельской местности – 50 Мб/с</a:t>
            </a:r>
          </a:p>
          <a:p>
            <a:r>
              <a:rPr lang="ru-RU" b="0" dirty="0" smtClean="0"/>
              <a:t>создание сети центров цифрового образования, охватывающей в год не менее 136 тысяч детей.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631975" y="6464463"/>
            <a:ext cx="4309806" cy="340064"/>
          </a:xfrm>
          <a:prstGeom prst="rect">
            <a:avLst/>
          </a:prstGeom>
        </p:spPr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14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354532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2400" b="1" dirty="0" smtClean="0"/>
              <a:t>Главные цифры проекта (к 2024 году):</a:t>
            </a:r>
          </a:p>
          <a:p>
            <a:r>
              <a:rPr lang="ru-RU" dirty="0" smtClean="0"/>
              <a:t>повышение уровня профессионального мастерства 50% педагогических работников, </a:t>
            </a:r>
          </a:p>
          <a:p>
            <a:r>
              <a:rPr lang="ru-RU" dirty="0" smtClean="0"/>
              <a:t>создание сети центров непрерывного повышения квалификации во всех субъектах России, </a:t>
            </a:r>
          </a:p>
          <a:p>
            <a:r>
              <a:rPr lang="ru-RU" dirty="0" smtClean="0"/>
              <a:t>участие 70% учителей в возрасте до 35 лет в различных формах поддержки и сопровождения обучающихся в первые 3 года работы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631975" y="6464463"/>
            <a:ext cx="4309806" cy="340064"/>
          </a:xfrm>
          <a:prstGeom prst="rect">
            <a:avLst/>
          </a:prstGeom>
        </p:spPr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15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7617623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2400" b="1" dirty="0" smtClean="0"/>
              <a:t>Главные цифры проекта (к 2024 году):</a:t>
            </a:r>
          </a:p>
          <a:p>
            <a:r>
              <a:rPr lang="ru-RU" dirty="0" smtClean="0"/>
              <a:t>создание и внедрение в 85 субъектах Российской Федерации системы социальной поддержки граждан, систематически участвующих в </a:t>
            </a:r>
            <a:r>
              <a:rPr lang="ru-RU" dirty="0" err="1" smtClean="0"/>
              <a:t>волонтерских</a:t>
            </a:r>
            <a:r>
              <a:rPr lang="ru-RU" dirty="0" smtClean="0"/>
              <a:t> проектах, </a:t>
            </a:r>
          </a:p>
          <a:p>
            <a:r>
              <a:rPr lang="ru-RU" dirty="0" smtClean="0"/>
              <a:t>проведение информационных и рекламных кампаний с целью популяризации </a:t>
            </a:r>
            <a:r>
              <a:rPr lang="ru-RU" dirty="0" err="1" smtClean="0"/>
              <a:t>волонтерства</a:t>
            </a:r>
            <a:r>
              <a:rPr lang="ru-RU" dirty="0" smtClean="0"/>
              <a:t>, ежегодно охватывающих как минимум 10 млн человек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631975" y="6464463"/>
            <a:ext cx="4309806" cy="340064"/>
          </a:xfrm>
          <a:prstGeom prst="rect">
            <a:avLst/>
          </a:prstGeom>
        </p:spPr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16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516045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ервая версия Концепции была негативно встречена сообществом педагогов технологического образования, в первую очередь по причине </a:t>
            </a:r>
            <a:r>
              <a:rPr lang="ru-RU" b="1" dirty="0" smtClean="0"/>
              <a:t>преобладания информационных и цифровых технологий </a:t>
            </a:r>
            <a:r>
              <a:rPr lang="ru-RU" dirty="0" smtClean="0"/>
              <a:t>в предлагаемом содержании учебного материала, а также явной нацеленностью </a:t>
            </a:r>
            <a:r>
              <a:rPr lang="ru-RU" b="1" dirty="0" smtClean="0"/>
              <a:t>на объединение предметов технология и информатика </a:t>
            </a:r>
            <a:r>
              <a:rPr lang="ru-RU" dirty="0" smtClean="0"/>
              <a:t>с последующим устранением традиционных разделов для уроков технологии с 60—70-х годов двадцатого века.</a:t>
            </a:r>
          </a:p>
          <a:p>
            <a:r>
              <a:rPr lang="ru-RU" dirty="0" smtClean="0"/>
              <a:t>После многочисленных обсуждений Концепции на научно-практических конференциях, круглых столах, деловых программах крупных мероприятий для общественного обсуждения была представлена вторая версия Концепции развития предметной области «Технология». Обсуждение Концепции проходило с 17 по 31 января 2018 года на платформе «Преобразование».</a:t>
            </a:r>
          </a:p>
          <a:p>
            <a:endParaRPr lang="ru-RU" dirty="0" smtClean="0"/>
          </a:p>
          <a:p>
            <a:r>
              <a:rPr lang="ru-RU" sz="1100" dirty="0" smtClean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Представленный вариант Концепции можно считать в какой-то степени </a:t>
            </a:r>
            <a:r>
              <a:rPr lang="ru-RU" sz="1100" b="1" dirty="0" smtClean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компромиссным</a:t>
            </a:r>
            <a:r>
              <a:rPr lang="ru-RU" sz="1100" dirty="0" smtClean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 между сторонниками </a:t>
            </a:r>
            <a:r>
              <a:rPr lang="ru-RU" sz="1100" b="1" dirty="0" smtClean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традиционных материальных технологий </a:t>
            </a:r>
            <a:r>
              <a:rPr lang="ru-RU" sz="1100" dirty="0" smtClean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и сторонниками </a:t>
            </a:r>
            <a:r>
              <a:rPr lang="ru-RU" sz="1100" b="1" dirty="0" smtClean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высоких и перспективных технологий</a:t>
            </a:r>
            <a:r>
              <a:rPr lang="ru-RU" sz="1100" dirty="0" smtClean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, учитывает предыдущие предложения и обсуждения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884172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" marR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spc="-114" dirty="0" smtClean="0">
                <a:solidFill>
                  <a:srgbClr val="171717"/>
                </a:solidFill>
                <a:latin typeface="Arial"/>
                <a:cs typeface="Arial"/>
              </a:rPr>
              <a:t>Целью </a:t>
            </a:r>
            <a:r>
              <a:rPr lang="ru-RU" sz="1200" spc="-55" dirty="0" smtClean="0">
                <a:solidFill>
                  <a:srgbClr val="171717"/>
                </a:solidFill>
                <a:latin typeface="Arial"/>
                <a:cs typeface="Arial"/>
              </a:rPr>
              <a:t>Концепции </a:t>
            </a:r>
            <a:r>
              <a:rPr lang="ru-RU" sz="1200" spc="-114" dirty="0" smtClean="0">
                <a:solidFill>
                  <a:srgbClr val="171717"/>
                </a:solidFill>
                <a:latin typeface="Arial"/>
                <a:cs typeface="Arial"/>
              </a:rPr>
              <a:t>является </a:t>
            </a:r>
            <a:r>
              <a:rPr lang="ru-RU" sz="1200" spc="-75" dirty="0" smtClean="0">
                <a:solidFill>
                  <a:srgbClr val="171717"/>
                </a:solidFill>
                <a:latin typeface="Arial"/>
                <a:cs typeface="Arial"/>
              </a:rPr>
              <a:t>создание </a:t>
            </a:r>
            <a:r>
              <a:rPr lang="ru-RU" sz="1200" spc="-80" dirty="0" smtClean="0">
                <a:solidFill>
                  <a:srgbClr val="171717"/>
                </a:solidFill>
                <a:latin typeface="Arial"/>
                <a:cs typeface="Arial"/>
              </a:rPr>
              <a:t>условий </a:t>
            </a:r>
            <a:r>
              <a:rPr lang="ru-RU" sz="1200" spc="-95" dirty="0" smtClean="0">
                <a:solidFill>
                  <a:srgbClr val="171717"/>
                </a:solidFill>
                <a:latin typeface="Arial"/>
                <a:cs typeface="Arial"/>
              </a:rPr>
              <a:t>для </a:t>
            </a:r>
            <a:r>
              <a:rPr lang="ru-RU" sz="1200" spc="-80" dirty="0" smtClean="0">
                <a:solidFill>
                  <a:srgbClr val="171717"/>
                </a:solidFill>
                <a:latin typeface="Arial"/>
                <a:cs typeface="Arial"/>
              </a:rPr>
              <a:t>формирования </a:t>
            </a:r>
            <a:r>
              <a:rPr lang="ru-RU" sz="1200" spc="-75" dirty="0" smtClean="0">
                <a:solidFill>
                  <a:srgbClr val="171717"/>
                </a:solidFill>
                <a:latin typeface="Arial"/>
                <a:cs typeface="Arial"/>
              </a:rPr>
              <a:t>технологической </a:t>
            </a:r>
            <a:r>
              <a:rPr lang="ru-RU" sz="1200" spc="-70" dirty="0" smtClean="0">
                <a:solidFill>
                  <a:srgbClr val="171717"/>
                </a:solidFill>
                <a:latin typeface="Arial"/>
                <a:cs typeface="Arial"/>
              </a:rPr>
              <a:t>грамотности</a:t>
            </a:r>
            <a:r>
              <a:rPr lang="ru-RU" sz="1200" spc="-45" dirty="0" smtClean="0">
                <a:solidFill>
                  <a:srgbClr val="171717"/>
                </a:solidFill>
                <a:latin typeface="Arial"/>
                <a:cs typeface="Arial"/>
              </a:rPr>
              <a:t> </a:t>
            </a:r>
            <a:r>
              <a:rPr lang="ru-RU" sz="1200" spc="-25" dirty="0" smtClean="0">
                <a:solidFill>
                  <a:srgbClr val="171717"/>
                </a:solidFill>
                <a:latin typeface="Arial"/>
                <a:cs typeface="Arial"/>
              </a:rPr>
              <a:t>и</a:t>
            </a:r>
            <a:r>
              <a:rPr lang="ru-RU" sz="1200" spc="0" baseline="0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ru-RU" sz="1200" spc="-55" dirty="0" smtClean="0">
                <a:solidFill>
                  <a:srgbClr val="171717"/>
                </a:solidFill>
                <a:latin typeface="Arial"/>
                <a:cs typeface="Arial"/>
              </a:rPr>
              <a:t>компетенций </a:t>
            </a:r>
            <a:r>
              <a:rPr lang="ru-RU" sz="1200" spc="-85" dirty="0" smtClean="0">
                <a:solidFill>
                  <a:srgbClr val="171717"/>
                </a:solidFill>
                <a:latin typeface="Arial"/>
                <a:cs typeface="Arial"/>
              </a:rPr>
              <a:t>обучающихся, </a:t>
            </a:r>
            <a:r>
              <a:rPr lang="ru-RU" sz="1200" spc="-70" dirty="0" smtClean="0">
                <a:solidFill>
                  <a:srgbClr val="171717"/>
                </a:solidFill>
                <a:latin typeface="Arial"/>
                <a:cs typeface="Arial"/>
              </a:rPr>
              <a:t>необходимых </a:t>
            </a:r>
            <a:r>
              <a:rPr lang="ru-RU" sz="1200" spc="-90" dirty="0" smtClean="0">
                <a:solidFill>
                  <a:srgbClr val="171717"/>
                </a:solidFill>
                <a:latin typeface="Arial"/>
                <a:cs typeface="Arial"/>
              </a:rPr>
              <a:t>для </a:t>
            </a:r>
            <a:r>
              <a:rPr lang="ru-RU" sz="1200" spc="-85" dirty="0" smtClean="0">
                <a:solidFill>
                  <a:srgbClr val="171717"/>
                </a:solidFill>
                <a:latin typeface="Arial"/>
                <a:cs typeface="Arial"/>
              </a:rPr>
              <a:t>перехода </a:t>
            </a:r>
            <a:r>
              <a:rPr lang="ru-RU" sz="1200" spc="45" dirty="0" smtClean="0">
                <a:solidFill>
                  <a:srgbClr val="171717"/>
                </a:solidFill>
                <a:latin typeface="Arial"/>
                <a:cs typeface="Arial"/>
              </a:rPr>
              <a:t>к </a:t>
            </a:r>
            <a:r>
              <a:rPr lang="ru-RU" sz="1200" spc="-50" dirty="0" smtClean="0">
                <a:solidFill>
                  <a:srgbClr val="171717"/>
                </a:solidFill>
                <a:latin typeface="Arial"/>
                <a:cs typeface="Arial"/>
              </a:rPr>
              <a:t>новым </a:t>
            </a:r>
            <a:r>
              <a:rPr lang="ru-RU" sz="1200" spc="-70" dirty="0" smtClean="0">
                <a:solidFill>
                  <a:srgbClr val="171717"/>
                </a:solidFill>
                <a:latin typeface="Arial"/>
                <a:cs typeface="Arial"/>
              </a:rPr>
              <a:t>приоритетам</a:t>
            </a:r>
            <a:r>
              <a:rPr lang="ru-RU" sz="1200" spc="-325" dirty="0" smtClean="0">
                <a:solidFill>
                  <a:srgbClr val="171717"/>
                </a:solidFill>
                <a:latin typeface="Arial"/>
                <a:cs typeface="Arial"/>
              </a:rPr>
              <a:t> </a:t>
            </a:r>
            <a:r>
              <a:rPr lang="ru-RU" sz="1200" spc="-70" dirty="0" smtClean="0">
                <a:solidFill>
                  <a:srgbClr val="171717"/>
                </a:solidFill>
                <a:latin typeface="Arial"/>
                <a:cs typeface="Arial"/>
              </a:rPr>
              <a:t>научно-технологического</a:t>
            </a:r>
            <a:r>
              <a:rPr lang="ru-RU" sz="1200" spc="0" baseline="0" dirty="0" smtClean="0">
                <a:solidFill>
                  <a:schemeClr val="tx1"/>
                </a:solidFill>
                <a:latin typeface="Arial"/>
                <a:cs typeface="Arial"/>
              </a:rPr>
              <a:t> </a:t>
            </a:r>
            <a:r>
              <a:rPr lang="ru-RU" sz="1200" spc="-80" dirty="0" smtClean="0">
                <a:solidFill>
                  <a:srgbClr val="171717"/>
                </a:solidFill>
                <a:latin typeface="Arial"/>
                <a:cs typeface="Arial"/>
              </a:rPr>
              <a:t>развития </a:t>
            </a:r>
            <a:r>
              <a:rPr lang="ru-RU" sz="1200" spc="-85" dirty="0" smtClean="0">
                <a:solidFill>
                  <a:srgbClr val="171717"/>
                </a:solidFill>
                <a:latin typeface="Arial"/>
                <a:cs typeface="Arial"/>
              </a:rPr>
              <a:t>Российской</a:t>
            </a:r>
            <a:r>
              <a:rPr lang="ru-RU" sz="1200" spc="-145" dirty="0" smtClean="0">
                <a:solidFill>
                  <a:srgbClr val="171717"/>
                </a:solidFill>
                <a:latin typeface="Arial"/>
                <a:cs typeface="Arial"/>
              </a:rPr>
              <a:t> </a:t>
            </a:r>
            <a:r>
              <a:rPr lang="ru-RU" sz="1200" spc="-75" dirty="0" smtClean="0">
                <a:solidFill>
                  <a:srgbClr val="171717"/>
                </a:solidFill>
                <a:latin typeface="Arial"/>
                <a:cs typeface="Arial"/>
              </a:rPr>
              <a:t>Федерации.</a:t>
            </a:r>
            <a:endParaRPr lang="ru-RU" sz="1200" spc="0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endParaRPr lang="ru-RU" sz="1200" spc="-90" dirty="0" smtClean="0">
              <a:solidFill>
                <a:srgbClr val="171717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spc="-90" dirty="0" smtClean="0">
                <a:solidFill>
                  <a:srgbClr val="171717"/>
                </a:solidFill>
                <a:latin typeface="Arial"/>
                <a:cs typeface="Arial"/>
              </a:rPr>
              <a:t>Технологическое </a:t>
            </a:r>
            <a:r>
              <a:rPr lang="ru-RU" sz="1200" spc="-70" dirty="0" smtClean="0">
                <a:solidFill>
                  <a:srgbClr val="171717"/>
                </a:solidFill>
                <a:latin typeface="Arial"/>
                <a:cs typeface="Arial"/>
              </a:rPr>
              <a:t>образование </a:t>
            </a:r>
            <a:r>
              <a:rPr lang="ru-RU" sz="1200" spc="-114" dirty="0" smtClean="0">
                <a:solidFill>
                  <a:srgbClr val="171717"/>
                </a:solidFill>
                <a:latin typeface="Arial"/>
                <a:cs typeface="Arial"/>
              </a:rPr>
              <a:t>является </a:t>
            </a:r>
            <a:r>
              <a:rPr lang="ru-RU" sz="1200" spc="-65" dirty="0" smtClean="0">
                <a:solidFill>
                  <a:srgbClr val="171717"/>
                </a:solidFill>
                <a:latin typeface="Arial"/>
                <a:cs typeface="Arial"/>
              </a:rPr>
              <a:t>необходимым </a:t>
            </a:r>
            <a:r>
              <a:rPr lang="ru-RU" sz="1200" spc="-45" dirty="0" smtClean="0">
                <a:solidFill>
                  <a:srgbClr val="171717"/>
                </a:solidFill>
                <a:latin typeface="Arial"/>
                <a:cs typeface="Arial"/>
              </a:rPr>
              <a:t>компонентом </a:t>
            </a:r>
            <a:r>
              <a:rPr lang="ru-RU" sz="1200" spc="-75" dirty="0" smtClean="0">
                <a:solidFill>
                  <a:srgbClr val="171717"/>
                </a:solidFill>
                <a:latin typeface="Arial"/>
                <a:cs typeface="Arial"/>
              </a:rPr>
              <a:t>общего </a:t>
            </a:r>
            <a:r>
              <a:rPr lang="ru-RU" sz="1200" spc="-70" dirty="0" smtClean="0">
                <a:solidFill>
                  <a:srgbClr val="171717"/>
                </a:solidFill>
                <a:latin typeface="Arial"/>
                <a:cs typeface="Arial"/>
              </a:rPr>
              <a:t>образования, </a:t>
            </a:r>
            <a:r>
              <a:rPr lang="ru-RU" sz="1200" spc="-95" dirty="0" smtClean="0">
                <a:solidFill>
                  <a:srgbClr val="171717"/>
                </a:solidFill>
                <a:latin typeface="Arial"/>
                <a:cs typeface="Arial"/>
              </a:rPr>
              <a:t>предоставляя  </a:t>
            </a:r>
            <a:r>
              <a:rPr lang="ru-RU" sz="1200" spc="-80" dirty="0" smtClean="0">
                <a:solidFill>
                  <a:srgbClr val="171717"/>
                </a:solidFill>
                <a:latin typeface="Arial"/>
                <a:cs typeface="Arial"/>
              </a:rPr>
              <a:t>обучающимся </a:t>
            </a:r>
            <a:r>
              <a:rPr lang="ru-RU" sz="1200" spc="-60" dirty="0" smtClean="0">
                <a:solidFill>
                  <a:srgbClr val="171717"/>
                </a:solidFill>
                <a:latin typeface="Arial"/>
                <a:cs typeface="Arial"/>
              </a:rPr>
              <a:t>возможность </a:t>
            </a:r>
            <a:r>
              <a:rPr lang="ru-RU" sz="1200" spc="-65" dirty="0" smtClean="0">
                <a:solidFill>
                  <a:srgbClr val="171717"/>
                </a:solidFill>
                <a:latin typeface="Arial"/>
                <a:cs typeface="Arial"/>
              </a:rPr>
              <a:t>применять </a:t>
            </a:r>
            <a:r>
              <a:rPr lang="ru-RU" sz="1200" spc="-75" dirty="0" smtClean="0">
                <a:solidFill>
                  <a:srgbClr val="171717"/>
                </a:solidFill>
                <a:latin typeface="Arial"/>
                <a:cs typeface="Arial"/>
              </a:rPr>
              <a:t>на </a:t>
            </a:r>
            <a:r>
              <a:rPr lang="ru-RU" sz="1200" spc="-50" dirty="0" smtClean="0">
                <a:solidFill>
                  <a:srgbClr val="171717"/>
                </a:solidFill>
                <a:latin typeface="Arial"/>
                <a:cs typeface="Arial"/>
              </a:rPr>
              <a:t>практике </a:t>
            </a:r>
            <a:r>
              <a:rPr lang="ru-RU" sz="1200" spc="-65" dirty="0" smtClean="0">
                <a:solidFill>
                  <a:srgbClr val="171717"/>
                </a:solidFill>
                <a:latin typeface="Arial"/>
                <a:cs typeface="Arial"/>
              </a:rPr>
              <a:t>знания </a:t>
            </a:r>
            <a:r>
              <a:rPr lang="ru-RU" sz="1200" spc="-70" dirty="0" smtClean="0">
                <a:solidFill>
                  <a:srgbClr val="171717"/>
                </a:solidFill>
                <a:latin typeface="Arial"/>
                <a:cs typeface="Arial"/>
              </a:rPr>
              <a:t>основ </a:t>
            </a:r>
            <a:r>
              <a:rPr lang="ru-RU" sz="1200" spc="-45" dirty="0" smtClean="0">
                <a:solidFill>
                  <a:srgbClr val="171717"/>
                </a:solidFill>
                <a:latin typeface="Arial"/>
                <a:cs typeface="Arial"/>
              </a:rPr>
              <a:t>наук, </a:t>
            </a:r>
            <a:r>
              <a:rPr lang="ru-RU" sz="1200" spc="-90" dirty="0" smtClean="0">
                <a:solidFill>
                  <a:srgbClr val="171717"/>
                </a:solidFill>
                <a:latin typeface="Arial"/>
                <a:cs typeface="Arial"/>
              </a:rPr>
              <a:t>осваивать </a:t>
            </a:r>
            <a:r>
              <a:rPr lang="ru-RU" sz="1200" spc="-70" dirty="0" smtClean="0">
                <a:solidFill>
                  <a:srgbClr val="171717"/>
                </a:solidFill>
                <a:latin typeface="Arial"/>
                <a:cs typeface="Arial"/>
              </a:rPr>
              <a:t>общие </a:t>
            </a:r>
            <a:r>
              <a:rPr lang="ru-RU" sz="1200" spc="-45" dirty="0" smtClean="0">
                <a:solidFill>
                  <a:srgbClr val="171717"/>
                </a:solidFill>
                <a:latin typeface="Arial"/>
                <a:cs typeface="Arial"/>
              </a:rPr>
              <a:t>принципы </a:t>
            </a:r>
            <a:r>
              <a:rPr lang="ru-RU" sz="1200" spc="-25" dirty="0" smtClean="0">
                <a:solidFill>
                  <a:srgbClr val="171717"/>
                </a:solidFill>
                <a:latin typeface="Arial"/>
                <a:cs typeface="Arial"/>
              </a:rPr>
              <a:t>и</a:t>
            </a:r>
            <a:r>
              <a:rPr lang="ru-RU" sz="1200" spc="-25" baseline="0" dirty="0" smtClean="0">
                <a:solidFill>
                  <a:srgbClr val="171717"/>
                </a:solidFill>
                <a:latin typeface="Arial"/>
                <a:cs typeface="Arial"/>
              </a:rPr>
              <a:t> </a:t>
            </a:r>
            <a:r>
              <a:rPr lang="ru-RU" sz="1200" spc="-50" dirty="0" smtClean="0">
                <a:solidFill>
                  <a:srgbClr val="171717"/>
                </a:solidFill>
                <a:latin typeface="Arial"/>
                <a:cs typeface="Arial"/>
              </a:rPr>
              <a:t>конкретные навыки </a:t>
            </a:r>
            <a:r>
              <a:rPr lang="ru-RU" sz="1200" spc="-75" dirty="0" smtClean="0">
                <a:solidFill>
                  <a:srgbClr val="171717"/>
                </a:solidFill>
                <a:latin typeface="Arial"/>
                <a:cs typeface="Arial"/>
              </a:rPr>
              <a:t>преобразующей </a:t>
            </a:r>
            <a:r>
              <a:rPr lang="ru-RU" sz="1200" spc="-95" dirty="0" smtClean="0">
                <a:solidFill>
                  <a:srgbClr val="171717"/>
                </a:solidFill>
                <a:latin typeface="Arial"/>
                <a:cs typeface="Arial"/>
              </a:rPr>
              <a:t>деятельности </a:t>
            </a:r>
            <a:r>
              <a:rPr lang="ru-RU" sz="1200" spc="-80" dirty="0" smtClean="0">
                <a:solidFill>
                  <a:srgbClr val="171717"/>
                </a:solidFill>
                <a:latin typeface="Arial"/>
                <a:cs typeface="Arial"/>
              </a:rPr>
              <a:t>человека, различные </a:t>
            </a:r>
            <a:r>
              <a:rPr lang="ru-RU" sz="1200" spc="-105" dirty="0" smtClean="0">
                <a:solidFill>
                  <a:srgbClr val="171717"/>
                </a:solidFill>
                <a:latin typeface="Arial"/>
                <a:cs typeface="Arial"/>
              </a:rPr>
              <a:t>формы </a:t>
            </a:r>
            <a:r>
              <a:rPr lang="ru-RU" sz="1200" spc="-65" dirty="0" smtClean="0">
                <a:solidFill>
                  <a:srgbClr val="171717"/>
                </a:solidFill>
                <a:latin typeface="Arial"/>
                <a:cs typeface="Arial"/>
              </a:rPr>
              <a:t>информационной </a:t>
            </a:r>
            <a:r>
              <a:rPr lang="ru-RU" sz="1200" spc="-25" dirty="0" smtClean="0">
                <a:solidFill>
                  <a:srgbClr val="171717"/>
                </a:solidFill>
                <a:latin typeface="Arial"/>
                <a:cs typeface="Arial"/>
              </a:rPr>
              <a:t>и  </a:t>
            </a:r>
            <a:r>
              <a:rPr lang="ru-RU" sz="1200" spc="-75" dirty="0" smtClean="0">
                <a:solidFill>
                  <a:srgbClr val="171717"/>
                </a:solidFill>
                <a:latin typeface="Arial"/>
                <a:cs typeface="Arial"/>
              </a:rPr>
              <a:t>материальной </a:t>
            </a:r>
            <a:r>
              <a:rPr lang="ru-RU" sz="1200" spc="-85" dirty="0" smtClean="0">
                <a:solidFill>
                  <a:srgbClr val="171717"/>
                </a:solidFill>
                <a:latin typeface="Arial"/>
                <a:cs typeface="Arial"/>
              </a:rPr>
              <a:t>культуры, </a:t>
            </a:r>
            <a:r>
              <a:rPr lang="ru-RU" sz="1200" spc="-120" dirty="0" smtClean="0">
                <a:solidFill>
                  <a:srgbClr val="171717"/>
                </a:solidFill>
                <a:latin typeface="Arial"/>
                <a:cs typeface="Arial"/>
              </a:rPr>
              <a:t>а </a:t>
            </a:r>
            <a:r>
              <a:rPr lang="ru-RU" sz="1200" spc="-60" dirty="0" smtClean="0">
                <a:solidFill>
                  <a:srgbClr val="171717"/>
                </a:solidFill>
                <a:latin typeface="Arial"/>
                <a:cs typeface="Arial"/>
              </a:rPr>
              <a:t>также </a:t>
            </a:r>
            <a:r>
              <a:rPr lang="ru-RU" sz="1200" spc="-75" dirty="0" smtClean="0">
                <a:solidFill>
                  <a:srgbClr val="171717"/>
                </a:solidFill>
                <a:latin typeface="Arial"/>
                <a:cs typeface="Arial"/>
              </a:rPr>
              <a:t>создания </a:t>
            </a:r>
            <a:r>
              <a:rPr lang="ru-RU" sz="1200" spc="-70" dirty="0" smtClean="0">
                <a:solidFill>
                  <a:srgbClr val="171717"/>
                </a:solidFill>
                <a:latin typeface="Arial"/>
                <a:cs typeface="Arial"/>
              </a:rPr>
              <a:t>новых </a:t>
            </a:r>
            <a:r>
              <a:rPr lang="ru-RU" sz="1200" spc="-65" dirty="0" smtClean="0">
                <a:solidFill>
                  <a:srgbClr val="171717"/>
                </a:solidFill>
                <a:latin typeface="Arial"/>
                <a:cs typeface="Arial"/>
              </a:rPr>
              <a:t>продуктов </a:t>
            </a:r>
            <a:r>
              <a:rPr lang="ru-RU" sz="1200" spc="-25" dirty="0" smtClean="0">
                <a:solidFill>
                  <a:srgbClr val="171717"/>
                </a:solidFill>
                <a:latin typeface="Arial"/>
                <a:cs typeface="Arial"/>
              </a:rPr>
              <a:t>и</a:t>
            </a:r>
            <a:r>
              <a:rPr lang="ru-RU" sz="1200" spc="-190" dirty="0" smtClean="0">
                <a:solidFill>
                  <a:srgbClr val="171717"/>
                </a:solidFill>
                <a:latin typeface="Arial"/>
                <a:cs typeface="Arial"/>
              </a:rPr>
              <a:t> </a:t>
            </a:r>
            <a:r>
              <a:rPr lang="ru-RU" sz="1200" spc="-95" dirty="0" smtClean="0">
                <a:solidFill>
                  <a:srgbClr val="171717"/>
                </a:solidFill>
                <a:latin typeface="Arial"/>
                <a:cs typeface="Arial"/>
              </a:rPr>
              <a:t>услуг.</a:t>
            </a:r>
            <a:endParaRPr lang="ru-RU" sz="1200" spc="0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endParaRPr lang="ru-RU" sz="1200" spc="-114" dirty="0" smtClean="0">
              <a:solidFill>
                <a:srgbClr val="171717"/>
              </a:solidFill>
              <a:latin typeface="Arial"/>
              <a:cs typeface="Arial"/>
            </a:endParaRPr>
          </a:p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200" spc="-195" dirty="0" smtClean="0">
                <a:solidFill>
                  <a:srgbClr val="171717"/>
                </a:solidFill>
                <a:latin typeface="Arial"/>
                <a:cs typeface="Arial"/>
              </a:rPr>
              <a:t>В </a:t>
            </a:r>
            <a:r>
              <a:rPr lang="ru-RU" sz="1200" spc="-70" dirty="0" smtClean="0">
                <a:solidFill>
                  <a:srgbClr val="171717"/>
                </a:solidFill>
                <a:latin typeface="Arial"/>
                <a:cs typeface="Arial"/>
              </a:rPr>
              <a:t>рамках </a:t>
            </a:r>
            <a:r>
              <a:rPr lang="ru-RU" sz="1200" spc="-75" dirty="0" smtClean="0">
                <a:solidFill>
                  <a:srgbClr val="171717"/>
                </a:solidFill>
                <a:latin typeface="Arial"/>
                <a:cs typeface="Arial"/>
              </a:rPr>
              <a:t>освоения </a:t>
            </a:r>
            <a:r>
              <a:rPr lang="ru-RU" sz="1200" spc="-60" dirty="0" smtClean="0">
                <a:solidFill>
                  <a:srgbClr val="171717"/>
                </a:solidFill>
                <a:latin typeface="Arial"/>
                <a:cs typeface="Arial"/>
              </a:rPr>
              <a:t>предметной </a:t>
            </a:r>
            <a:r>
              <a:rPr lang="ru-RU" sz="1200" spc="-95" dirty="0" smtClean="0">
                <a:solidFill>
                  <a:srgbClr val="171717"/>
                </a:solidFill>
                <a:latin typeface="Arial"/>
                <a:cs typeface="Arial"/>
              </a:rPr>
              <a:t>области «Технология» </a:t>
            </a:r>
            <a:r>
              <a:rPr lang="ru-RU" sz="1200" spc="-75" dirty="0" smtClean="0">
                <a:solidFill>
                  <a:srgbClr val="171717"/>
                </a:solidFill>
                <a:latin typeface="Arial"/>
                <a:cs typeface="Arial"/>
              </a:rPr>
              <a:t>происходит </a:t>
            </a:r>
            <a:r>
              <a:rPr lang="ru-RU" sz="1200" spc="-65" dirty="0" smtClean="0">
                <a:solidFill>
                  <a:srgbClr val="171717"/>
                </a:solidFill>
                <a:latin typeface="Arial"/>
                <a:cs typeface="Arial"/>
              </a:rPr>
              <a:t>приобретение </a:t>
            </a:r>
            <a:r>
              <a:rPr lang="ru-RU" sz="1200" spc="-80" dirty="0" smtClean="0">
                <a:solidFill>
                  <a:srgbClr val="171717"/>
                </a:solidFill>
                <a:latin typeface="Arial"/>
                <a:cs typeface="Arial"/>
              </a:rPr>
              <a:t>базовых </a:t>
            </a:r>
            <a:r>
              <a:rPr lang="ru-RU" sz="1200" spc="-60" dirty="0" smtClean="0">
                <a:solidFill>
                  <a:srgbClr val="171717"/>
                </a:solidFill>
                <a:latin typeface="Arial"/>
                <a:cs typeface="Arial"/>
              </a:rPr>
              <a:t>навыков  </a:t>
            </a:r>
            <a:r>
              <a:rPr lang="ru-RU" sz="1200" spc="-85" dirty="0" smtClean="0">
                <a:solidFill>
                  <a:srgbClr val="171717"/>
                </a:solidFill>
                <a:latin typeface="Arial"/>
                <a:cs typeface="Arial"/>
              </a:rPr>
              <a:t>работы </a:t>
            </a:r>
            <a:r>
              <a:rPr lang="ru-RU" sz="1200" spc="-125" dirty="0" smtClean="0">
                <a:solidFill>
                  <a:srgbClr val="171717"/>
                </a:solidFill>
                <a:latin typeface="Arial"/>
                <a:cs typeface="Arial"/>
              </a:rPr>
              <a:t>с </a:t>
            </a:r>
            <a:r>
              <a:rPr lang="ru-RU" sz="1200" spc="-65" dirty="0" smtClean="0">
                <a:solidFill>
                  <a:srgbClr val="171717"/>
                </a:solidFill>
                <a:latin typeface="Arial"/>
                <a:cs typeface="Arial"/>
              </a:rPr>
              <a:t>современным </a:t>
            </a:r>
            <a:r>
              <a:rPr lang="ru-RU" sz="1200" spc="-70" dirty="0" smtClean="0">
                <a:solidFill>
                  <a:srgbClr val="171717"/>
                </a:solidFill>
                <a:latin typeface="Arial"/>
                <a:cs typeface="Arial"/>
              </a:rPr>
              <a:t>технологичным оборудованием, освоение современных технологий, </a:t>
            </a:r>
            <a:r>
              <a:rPr lang="ru-RU" sz="1200" spc="-65" dirty="0" smtClean="0">
                <a:solidFill>
                  <a:srgbClr val="171717"/>
                </a:solidFill>
                <a:latin typeface="Arial"/>
                <a:cs typeface="Arial"/>
              </a:rPr>
              <a:t>знакомство  </a:t>
            </a:r>
            <a:r>
              <a:rPr lang="ru-RU" sz="1200" spc="-120" dirty="0" smtClean="0">
                <a:solidFill>
                  <a:srgbClr val="171717"/>
                </a:solidFill>
                <a:latin typeface="Arial"/>
                <a:cs typeface="Arial"/>
              </a:rPr>
              <a:t>с </a:t>
            </a:r>
            <a:r>
              <a:rPr lang="ru-RU" sz="1200" spc="-35" dirty="0" smtClean="0">
                <a:solidFill>
                  <a:srgbClr val="171717"/>
                </a:solidFill>
                <a:latin typeface="Arial"/>
                <a:cs typeface="Arial"/>
              </a:rPr>
              <a:t>миром </a:t>
            </a:r>
            <a:r>
              <a:rPr lang="ru-RU" sz="1200" spc="-95" dirty="0" smtClean="0">
                <a:solidFill>
                  <a:srgbClr val="171717"/>
                </a:solidFill>
                <a:latin typeface="Arial"/>
                <a:cs typeface="Arial"/>
              </a:rPr>
              <a:t>профессий, </a:t>
            </a:r>
            <a:r>
              <a:rPr lang="ru-RU" sz="1200" spc="-80" dirty="0" smtClean="0">
                <a:solidFill>
                  <a:srgbClr val="171717"/>
                </a:solidFill>
                <a:latin typeface="Arial"/>
                <a:cs typeface="Arial"/>
              </a:rPr>
              <a:t>самоопределение </a:t>
            </a:r>
            <a:r>
              <a:rPr lang="ru-RU" sz="1200" spc="-25" dirty="0" smtClean="0">
                <a:solidFill>
                  <a:srgbClr val="171717"/>
                </a:solidFill>
                <a:latin typeface="Arial"/>
                <a:cs typeface="Arial"/>
              </a:rPr>
              <a:t>и </a:t>
            </a:r>
            <a:r>
              <a:rPr lang="ru-RU" sz="1200" spc="-70" dirty="0" smtClean="0">
                <a:solidFill>
                  <a:srgbClr val="171717"/>
                </a:solidFill>
                <a:latin typeface="Arial"/>
                <a:cs typeface="Arial"/>
              </a:rPr>
              <a:t>ориентация </a:t>
            </a:r>
            <a:r>
              <a:rPr lang="ru-RU" sz="1200" spc="-90" dirty="0" smtClean="0">
                <a:solidFill>
                  <a:srgbClr val="171717"/>
                </a:solidFill>
                <a:latin typeface="Arial"/>
                <a:cs typeface="Arial"/>
              </a:rPr>
              <a:t>обучающихся </a:t>
            </a:r>
            <a:r>
              <a:rPr lang="ru-RU" sz="1200" spc="-75" dirty="0" smtClean="0">
                <a:solidFill>
                  <a:srgbClr val="171717"/>
                </a:solidFill>
                <a:latin typeface="Arial"/>
                <a:cs typeface="Arial"/>
              </a:rPr>
              <a:t>на </a:t>
            </a:r>
            <a:r>
              <a:rPr lang="ru-RU" sz="1200" spc="-95" dirty="0" smtClean="0">
                <a:solidFill>
                  <a:srgbClr val="171717"/>
                </a:solidFill>
                <a:latin typeface="Arial"/>
                <a:cs typeface="Arial"/>
              </a:rPr>
              <a:t>деятельность </a:t>
            </a:r>
            <a:r>
              <a:rPr lang="ru-RU" sz="1200" spc="-80" dirty="0" smtClean="0">
                <a:solidFill>
                  <a:srgbClr val="171717"/>
                </a:solidFill>
                <a:latin typeface="Arial"/>
                <a:cs typeface="Arial"/>
              </a:rPr>
              <a:t>в различных  </a:t>
            </a:r>
            <a:r>
              <a:rPr lang="ru-RU" sz="1200" spc="-85" dirty="0" smtClean="0">
                <a:solidFill>
                  <a:srgbClr val="171717"/>
                </a:solidFill>
                <a:latin typeface="Arial"/>
                <a:cs typeface="Arial"/>
              </a:rPr>
              <a:t>социальных </a:t>
            </a:r>
            <a:r>
              <a:rPr lang="ru-RU" sz="1200" spc="-120" dirty="0" smtClean="0">
                <a:solidFill>
                  <a:srgbClr val="171717"/>
                </a:solidFill>
                <a:latin typeface="Arial"/>
                <a:cs typeface="Arial"/>
              </a:rPr>
              <a:t>сферах; </a:t>
            </a:r>
            <a:r>
              <a:rPr lang="ru-RU" sz="1200" spc="-95" dirty="0" smtClean="0">
                <a:solidFill>
                  <a:srgbClr val="171717"/>
                </a:solidFill>
                <a:latin typeface="Arial"/>
                <a:cs typeface="Arial"/>
              </a:rPr>
              <a:t>обеспечивается </a:t>
            </a:r>
            <a:r>
              <a:rPr lang="ru-RU" sz="1200" spc="-80" dirty="0" smtClean="0">
                <a:solidFill>
                  <a:srgbClr val="171717"/>
                </a:solidFill>
                <a:latin typeface="Arial"/>
                <a:cs typeface="Arial"/>
              </a:rPr>
              <a:t>преемственность </a:t>
            </a:r>
            <a:r>
              <a:rPr lang="ru-RU" sz="1200" spc="-85" dirty="0" smtClean="0">
                <a:solidFill>
                  <a:srgbClr val="171717"/>
                </a:solidFill>
                <a:latin typeface="Arial"/>
                <a:cs typeface="Arial"/>
              </a:rPr>
              <a:t>перехода </a:t>
            </a:r>
            <a:r>
              <a:rPr lang="ru-RU" sz="1200" spc="-90" dirty="0" smtClean="0">
                <a:solidFill>
                  <a:srgbClr val="171717"/>
                </a:solidFill>
                <a:latin typeface="Arial"/>
                <a:cs typeface="Arial"/>
              </a:rPr>
              <a:t>обучающихся </a:t>
            </a:r>
            <a:r>
              <a:rPr lang="ru-RU" sz="1200" spc="-85" dirty="0" smtClean="0">
                <a:solidFill>
                  <a:srgbClr val="171717"/>
                </a:solidFill>
                <a:latin typeface="Arial"/>
                <a:cs typeface="Arial"/>
              </a:rPr>
              <a:t>от </a:t>
            </a:r>
            <a:r>
              <a:rPr lang="ru-RU" sz="1200" spc="-80" dirty="0" smtClean="0">
                <a:solidFill>
                  <a:srgbClr val="171717"/>
                </a:solidFill>
                <a:latin typeface="Arial"/>
                <a:cs typeface="Arial"/>
              </a:rPr>
              <a:t>общего </a:t>
            </a:r>
            <a:r>
              <a:rPr lang="ru-RU" sz="1200" spc="-70" dirty="0" smtClean="0">
                <a:solidFill>
                  <a:srgbClr val="171717"/>
                </a:solidFill>
                <a:latin typeface="Arial"/>
                <a:cs typeface="Arial"/>
              </a:rPr>
              <a:t>образования </a:t>
            </a:r>
            <a:r>
              <a:rPr lang="ru-RU" sz="1200" spc="45" dirty="0" smtClean="0">
                <a:solidFill>
                  <a:srgbClr val="171717"/>
                </a:solidFill>
                <a:latin typeface="Arial"/>
                <a:cs typeface="Arial"/>
              </a:rPr>
              <a:t>к  </a:t>
            </a:r>
            <a:r>
              <a:rPr lang="ru-RU" sz="1200" spc="-75" dirty="0" smtClean="0">
                <a:solidFill>
                  <a:srgbClr val="171717"/>
                </a:solidFill>
                <a:latin typeface="Arial"/>
                <a:cs typeface="Arial"/>
              </a:rPr>
              <a:t>среднему </a:t>
            </a:r>
            <a:r>
              <a:rPr lang="ru-RU" sz="1200" spc="-85" dirty="0" smtClean="0">
                <a:solidFill>
                  <a:srgbClr val="171717"/>
                </a:solidFill>
                <a:latin typeface="Arial"/>
                <a:cs typeface="Arial"/>
              </a:rPr>
              <a:t>профессиональному, </a:t>
            </a:r>
            <a:r>
              <a:rPr lang="ru-RU" sz="1200" spc="-90" dirty="0" smtClean="0">
                <a:solidFill>
                  <a:srgbClr val="171717"/>
                </a:solidFill>
                <a:latin typeface="Arial"/>
                <a:cs typeface="Arial"/>
              </a:rPr>
              <a:t>высшему</a:t>
            </a:r>
            <a:r>
              <a:rPr lang="ru-RU" sz="1200" spc="-160" dirty="0" smtClean="0">
                <a:solidFill>
                  <a:srgbClr val="171717"/>
                </a:solidFill>
                <a:latin typeface="Arial"/>
                <a:cs typeface="Arial"/>
              </a:rPr>
              <a:t> </a:t>
            </a:r>
            <a:r>
              <a:rPr lang="ru-RU" sz="1200" spc="-65" dirty="0" smtClean="0">
                <a:solidFill>
                  <a:srgbClr val="171717"/>
                </a:solidFill>
                <a:latin typeface="Arial"/>
                <a:cs typeface="Arial"/>
              </a:rPr>
              <a:t>образованию</a:t>
            </a:r>
            <a:endParaRPr lang="ru-RU" sz="1200" dirty="0" smtClean="0">
              <a:latin typeface="Arial"/>
              <a:cs typeface="Arial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631975" y="6464463"/>
            <a:ext cx="4309806" cy="340064"/>
          </a:xfrm>
          <a:prstGeom prst="rect">
            <a:avLst/>
          </a:prstGeom>
        </p:spPr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18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628198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4700674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631975" y="6464463"/>
            <a:ext cx="4309806" cy="340064"/>
          </a:xfrm>
          <a:prstGeom prst="rect">
            <a:avLst/>
          </a:prstGeom>
        </p:spPr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20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0598540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5522913" y="381000"/>
            <a:ext cx="3375025" cy="18986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МК и пособия издательства «Просвещение» могут помочь учителям технологии в достижении результатов ФГОС и реализации Примерной основной образовательной программы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631975" y="6464463"/>
            <a:ext cx="4309806" cy="34006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573135F-DFD3-44D4-BC51-3AF0C8B69AB4}" type="slidenum">
              <a:rPr lang="ru-RU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21</a:t>
            </a:fld>
            <a:endParaRPr lang="ru-RU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985599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ru-RU" sz="14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редметной области «Технология» реализуются три взаимосвязанных ключевых направления,</a:t>
            </a:r>
          </a:p>
          <a:p>
            <a:pPr marL="12700">
              <a:lnSpc>
                <a:spcPct val="100000"/>
              </a:lnSpc>
            </a:pPr>
            <a:r>
              <a:rPr lang="ru-RU" sz="14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одержательно соответствующих требованиям ПООП ООО:</a:t>
            </a:r>
          </a:p>
          <a:p>
            <a:pPr marL="299085" marR="267970" indent="-286385">
              <a:lnSpc>
                <a:spcPct val="100000"/>
              </a:lnSpc>
              <a:spcBef>
                <a:spcPts val="600"/>
              </a:spcBef>
              <a:buClr>
                <a:srgbClr val="2C3493"/>
              </a:buClr>
              <a:buChar char="•"/>
              <a:tabLst>
                <a:tab pos="299085" algn="l"/>
                <a:tab pos="299720" algn="l"/>
              </a:tabLst>
            </a:pPr>
            <a:r>
              <a:rPr lang="ru-RU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ведение в контекст создания и использования современных и традиционных технологий,  технологической эволюции человечества, ее закономерностей, современных тенденций, сущности  инновационной деятельности;</a:t>
            </a:r>
          </a:p>
          <a:p>
            <a:pPr marL="299085" marR="5080" indent="-286385">
              <a:lnSpc>
                <a:spcPct val="100000"/>
              </a:lnSpc>
              <a:spcBef>
                <a:spcPts val="605"/>
              </a:spcBef>
              <a:buClr>
                <a:srgbClr val="2C3493"/>
              </a:buClr>
              <a:buChar char="•"/>
              <a:tabLst>
                <a:tab pos="299085" algn="l"/>
                <a:tab pos="299720" algn="l"/>
              </a:tabLst>
            </a:pPr>
            <a:r>
              <a:rPr lang="ru-RU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лучение опыта персонифицированного действия и трудовое воспитание в процессе разработки  технологических решений и их применения, изучения и анализа меняющихся потребностей человека  и общества;</a:t>
            </a:r>
          </a:p>
          <a:p>
            <a:pPr marL="299085" marR="553720" indent="-286385">
              <a:lnSpc>
                <a:spcPct val="100000"/>
              </a:lnSpc>
              <a:spcBef>
                <a:spcPts val="605"/>
              </a:spcBef>
              <a:buClr>
                <a:srgbClr val="2C3493"/>
              </a:buClr>
              <a:buChar char="•"/>
              <a:tabLst>
                <a:tab pos="299085" algn="l"/>
                <a:tab pos="299720" algn="l"/>
              </a:tabLst>
            </a:pPr>
            <a:r>
              <a:rPr lang="ru-RU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ведение в мир профессий, включая профессии будущего, профессиональное самоопределение  (профессиональные пробы на основе видов трудовой деятельности, структуры рынка труда,</a:t>
            </a:r>
          </a:p>
          <a:p>
            <a:pPr marL="299085">
              <a:lnSpc>
                <a:spcPct val="100000"/>
              </a:lnSpc>
            </a:pPr>
            <a:r>
              <a:rPr lang="ru-RU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нновационного предпринимательства и их организации в регионе проживания, стандартов</a:t>
            </a:r>
          </a:p>
          <a:p>
            <a:pPr marL="299085">
              <a:lnSpc>
                <a:spcPct val="100000"/>
              </a:lnSpc>
            </a:pPr>
            <a:r>
              <a:rPr lang="ru-RU" sz="14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орлдскиллс</a:t>
            </a:r>
            <a:r>
              <a:rPr lang="ru-RU" sz="14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</a:t>
            </a:r>
          </a:p>
          <a:p>
            <a:endParaRPr lang="ru-RU" b="0" i="0" dirty="0">
              <a:latin typeface="+mj-lt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631975" y="6464463"/>
            <a:ext cx="4309806" cy="340064"/>
          </a:xfrm>
          <a:prstGeom prst="rect">
            <a:avLst/>
          </a:prstGeom>
        </p:spPr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22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282162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целях осуществления прорывного научно-технологического и социально-экономического развития Российской  Федерации, повышения уровня жизни граждан, создания комфортных условий для их проживания, а также условий  и возможностей для самореализации и раскрытия таланта каждого человека постановляю:</a:t>
            </a:r>
          </a:p>
          <a:p>
            <a:r>
              <a:rPr lang="ru-RU" dirty="0" smtClean="0"/>
              <a:t>п.5. Правительству РФ при разработке национального проекта в сфере образования исходить из того, что к 2024 г.  необходимо обеспечить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) достижение следующих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целей и целевых показателей: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беспечение глобальной конкурентоспособности российского образования, вхождение РФ в число 10 ведущих стран мира по качеству общего образования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оспитание гармонично развитой и социально ответственной личности на основе духовно-нравственных ценностей народов РФ, исторических и национально-культурных традиций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) решение следующих задач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внедрение на уровнях основного общего и среднего общего образования </a:t>
            </a:r>
            <a:r>
              <a:rPr lang="ru-RU" b="1" dirty="0" smtClean="0"/>
              <a:t>новых методов обучения и воспитания</a:t>
            </a:r>
            <a:r>
              <a:rPr lang="ru-RU" dirty="0" smtClean="0"/>
              <a:t>,  образовательных технологий, обеспечивающих освоение обучающимися базовых навыков и умений, повышение их  мотивации к обучению и вовлеченности в образовательный процесс, а также </a:t>
            </a:r>
            <a:r>
              <a:rPr lang="ru-RU" b="1" dirty="0" smtClean="0"/>
              <a:t>обновление содержания и  совершенствование методов обучения в предметной области "Технология"</a:t>
            </a:r>
            <a:r>
              <a:rPr lang="ru-RU" dirty="0" smtClean="0"/>
              <a:t>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dirty="0" smtClean="0"/>
              <a:t>формирование эффективной системы </a:t>
            </a:r>
            <a:r>
              <a:rPr lang="ru-RU" b="1" dirty="0" smtClean="0"/>
              <a:t>выявления, поддержки и развития способностей и талантов у детей и  </a:t>
            </a:r>
            <a:r>
              <a:rPr lang="ru-RU" b="1" dirty="0" err="1" smtClean="0"/>
              <a:t>молодежи</a:t>
            </a:r>
            <a:r>
              <a:rPr lang="ru-RU" dirty="0" smtClean="0"/>
              <a:t>, основанной на принципах справедливости, всеобщности и направленной на самоопределение и  профессиональную ориентацию всех обучающихся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b="1" dirty="0" smtClean="0"/>
              <a:t>создание современной и безопасной цифровой образовательной среды</a:t>
            </a:r>
            <a:r>
              <a:rPr lang="ru-RU" dirty="0" smtClean="0"/>
              <a:t>, обеспечивающей высокое качество и</a:t>
            </a:r>
            <a:r>
              <a:rPr lang="ru-RU" baseline="0" dirty="0" smtClean="0"/>
              <a:t> </a:t>
            </a:r>
            <a:r>
              <a:rPr lang="ru-RU" dirty="0" smtClean="0"/>
              <a:t>доступность образования всех видов и уровней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366982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днако при этом Концепция</a:t>
            </a:r>
            <a:r>
              <a:rPr lang="ru-RU" baseline="0" dirty="0" smtClean="0"/>
              <a:t> имеет ряд </a:t>
            </a:r>
            <a:r>
              <a:rPr lang="ru-RU" baseline="0" dirty="0" err="1" smtClean="0"/>
              <a:t>недочетов</a:t>
            </a:r>
            <a:r>
              <a:rPr lang="ru-RU" baseline="0" dirty="0" smtClean="0"/>
              <a:t>:</a:t>
            </a:r>
          </a:p>
          <a:p>
            <a:pPr marL="228600" indent="-228600">
              <a:buAutoNum type="arabicParenR"/>
            </a:pPr>
            <a:r>
              <a:rPr lang="ru-RU" baseline="0" dirty="0" smtClean="0"/>
              <a:t>Разночтения</a:t>
            </a:r>
          </a:p>
          <a:p>
            <a:pPr marL="0" indent="0">
              <a:buNone/>
            </a:pPr>
            <a:r>
              <a:rPr lang="ru-RU" dirty="0" smtClean="0"/>
              <a:t>технологии </a:t>
            </a:r>
            <a:r>
              <a:rPr lang="ru-RU" dirty="0" err="1" smtClean="0"/>
              <a:t>здоровьесбережения</a:t>
            </a:r>
            <a:r>
              <a:rPr lang="ru-RU" dirty="0" smtClean="0"/>
              <a:t> -  это соблюдение правил безопасной работы, положений санитарии и гигиены,</a:t>
            </a:r>
          </a:p>
          <a:p>
            <a:pPr marL="0" indent="0">
              <a:buNone/>
            </a:pPr>
            <a:r>
              <a:rPr lang="ru-RU" dirty="0" err="1" smtClean="0"/>
              <a:t>природоподобные</a:t>
            </a:r>
            <a:r>
              <a:rPr lang="ru-RU" dirty="0" smtClean="0"/>
              <a:t> технологии -  это технологии направленные на сохранение природы.</a:t>
            </a:r>
          </a:p>
          <a:p>
            <a:pPr marL="0" indent="0">
              <a:buNone/>
            </a:pPr>
            <a:r>
              <a:rPr lang="ru-RU" dirty="0" smtClean="0"/>
              <a:t>Таким образом, технологии </a:t>
            </a:r>
            <a:r>
              <a:rPr lang="ru-RU" dirty="0" err="1" smtClean="0"/>
              <a:t>здоровьесбережения</a:t>
            </a:r>
            <a:r>
              <a:rPr lang="ru-RU" dirty="0" smtClean="0"/>
              <a:t> и </a:t>
            </a:r>
            <a:r>
              <a:rPr lang="ru-RU" dirty="0" err="1" smtClean="0"/>
              <a:t>природоподобные</a:t>
            </a:r>
            <a:r>
              <a:rPr lang="ru-RU" dirty="0" smtClean="0"/>
              <a:t> технологии не должны составлять самостоятельные модули образовательной программы, а как бы пронизывать все остальные модули. </a:t>
            </a:r>
          </a:p>
          <a:p>
            <a:pPr marL="0" indent="0">
              <a:buNone/>
            </a:pPr>
            <a:r>
              <a:rPr lang="ru-RU" dirty="0" smtClean="0"/>
              <a:t>Во избежание разночтений, здесь необходимо дать </a:t>
            </a:r>
            <a:r>
              <a:rPr lang="ru-RU" dirty="0" err="1" smtClean="0"/>
              <a:t>развернутое</a:t>
            </a:r>
            <a:r>
              <a:rPr lang="ru-RU" dirty="0" smtClean="0"/>
              <a:t> представление перечисленных видов технологий.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2) В Концепции сказано, что: «ведущей формой учебной деятельности в ходе освоения предметной области «Технология» является проектная деятельность в полном цикле: «от выделения проблемы до внедрения результата».</a:t>
            </a:r>
            <a:r>
              <a:rPr lang="ru-RU" baseline="0" dirty="0" smtClean="0"/>
              <a:t> </a:t>
            </a:r>
            <a:r>
              <a:rPr lang="ru-RU" dirty="0" smtClean="0"/>
              <a:t>Говорить о «внедрении результата» с обучающимися начальной и основной школы не совсем верно. Вероятно, здесь стоит сказать о достижении результата (создании объекта), его обосновании и о защите проекта.</a:t>
            </a:r>
          </a:p>
        </p:txBody>
      </p:sp>
    </p:spTree>
    <p:extLst>
      <p:ext uri="{BB962C8B-B14F-4D97-AF65-F5344CB8AC3E}">
        <p14:creationId xmlns:p14="http://schemas.microsoft.com/office/powerpoint/2010/main" val="171093618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 smtClean="0"/>
              <a:t>3) В концепции написано, что целесообразно</a:t>
            </a:r>
            <a:r>
              <a:rPr lang="ru-RU" baseline="0" dirty="0" smtClean="0"/>
              <a:t> </a:t>
            </a:r>
            <a:r>
              <a:rPr lang="ru-RU" dirty="0" smtClean="0"/>
              <a:t>интегрировать ИКТ в учебный предмет «Технологи». Однако мы рассматриваем ИКТ только как средство</a:t>
            </a:r>
            <a:r>
              <a:rPr lang="ru-RU" baseline="0" dirty="0" smtClean="0"/>
              <a:t> достижения предметных целей.</a:t>
            </a:r>
          </a:p>
          <a:p>
            <a:pPr marL="0" indent="0">
              <a:buNone/>
            </a:pPr>
            <a:endParaRPr lang="ru-RU" baseline="0" dirty="0" smtClean="0"/>
          </a:p>
          <a:p>
            <a:pPr marL="0" indent="0">
              <a:buNone/>
            </a:pPr>
            <a:endParaRPr lang="ru-RU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kern="1200" dirty="0" smtClean="0">
                <a:solidFill>
                  <a:schemeClr val="tx1"/>
                </a:solidFill>
                <a:effectLst/>
                <a:latin typeface="Helvetica Neue"/>
                <a:ea typeface="Helvetica Neue"/>
                <a:cs typeface="Helvetica Neue"/>
                <a:sym typeface="Helvetica Neue"/>
              </a:rPr>
              <a:t>Не все положения концепции достаточно полно раскрывают содержание курса технологии и его реализацию. Необходима доработка материала. </a:t>
            </a:r>
          </a:p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30747238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baseline="0" dirty="0" smtClean="0"/>
              <a:t>Для эффективной реализации основных задач предметной области необходимо использовать ресурсы </a:t>
            </a:r>
            <a:r>
              <a:rPr lang="ru-RU" baseline="0" dirty="0" err="1" smtClean="0"/>
              <a:t>ЦМИТов</a:t>
            </a:r>
            <a:r>
              <a:rPr lang="ru-RU" baseline="0" dirty="0" smtClean="0"/>
              <a:t>, </a:t>
            </a:r>
            <a:r>
              <a:rPr lang="ru-RU" baseline="0" dirty="0" err="1" smtClean="0"/>
              <a:t>кванториумов</a:t>
            </a:r>
            <a:r>
              <a:rPr lang="ru-RU" baseline="0" dirty="0" smtClean="0"/>
              <a:t>, </a:t>
            </a:r>
            <a:r>
              <a:rPr lang="ru-RU" baseline="0" dirty="0" err="1" smtClean="0"/>
              <a:t>Фаблабов</a:t>
            </a:r>
            <a:r>
              <a:rPr lang="ru-RU" baseline="0" dirty="0" smtClean="0"/>
              <a:t>, центров компетенций (</a:t>
            </a:r>
            <a:r>
              <a:rPr lang="ru-RU" baseline="0" dirty="0" err="1" smtClean="0"/>
              <a:t>Ворлдскиллс</a:t>
            </a:r>
            <a:r>
              <a:rPr lang="ru-RU" baseline="0" dirty="0" smtClean="0"/>
              <a:t> и т.д.). Однако в большинстве городов их нет. А что делать на селе?</a:t>
            </a:r>
          </a:p>
          <a:p>
            <a:pPr marL="0" indent="0">
              <a:buNone/>
            </a:pPr>
            <a:endParaRPr lang="ru-RU" baseline="0" dirty="0" smtClean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kern="1200" dirty="0" smtClean="0">
                <a:solidFill>
                  <a:schemeClr val="tx1"/>
                </a:solidFill>
                <a:effectLst/>
                <a:latin typeface="Helvetica Neue"/>
                <a:ea typeface="Helvetica Neue"/>
                <a:cs typeface="Helvetica Neue"/>
                <a:sym typeface="Helvetica Neue"/>
              </a:rPr>
              <a:t>Не все положения концепции достаточно полно раскрывают содержание курса технологии и его реализацию. Необходима доработка материала. </a:t>
            </a:r>
          </a:p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45949076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 smtClean="0"/>
              <a:t>Локальная модель</a:t>
            </a:r>
          </a:p>
          <a:p>
            <a:pPr marL="12700">
              <a:lnSpc>
                <a:spcPct val="100000"/>
              </a:lnSpc>
              <a:spcBef>
                <a:spcPts val="90"/>
              </a:spcBef>
            </a:pPr>
            <a:r>
              <a:rPr lang="ru-RU" sz="1200" spc="-10" dirty="0" smtClean="0">
                <a:solidFill>
                  <a:srgbClr val="171717"/>
                </a:solidFill>
                <a:latin typeface="Times New Roman"/>
                <a:cs typeface="Times New Roman"/>
              </a:rPr>
              <a:t>(внутри</a:t>
            </a:r>
            <a:r>
              <a:rPr lang="ru-RU" sz="1200" spc="5" dirty="0" smtClean="0">
                <a:solidFill>
                  <a:srgbClr val="171717"/>
                </a:solidFill>
                <a:latin typeface="Times New Roman"/>
                <a:cs typeface="Times New Roman"/>
              </a:rPr>
              <a:t> </a:t>
            </a:r>
            <a:r>
              <a:rPr lang="ru-RU" sz="1200" spc="-10" dirty="0" smtClean="0">
                <a:solidFill>
                  <a:srgbClr val="171717"/>
                </a:solidFill>
                <a:latin typeface="Times New Roman"/>
                <a:cs typeface="Times New Roman"/>
              </a:rPr>
              <a:t>общеобразовательной</a:t>
            </a:r>
            <a:r>
              <a:rPr lang="ru-RU" sz="1200" spc="0" baseline="0" dirty="0" smtClean="0">
                <a:solidFill>
                  <a:schemeClr val="tx1"/>
                </a:solidFill>
                <a:latin typeface="Times New Roman"/>
                <a:cs typeface="Times New Roman"/>
              </a:rPr>
              <a:t> </a:t>
            </a:r>
            <a:r>
              <a:rPr lang="ru-RU" sz="1200" spc="-10" dirty="0" smtClean="0">
                <a:solidFill>
                  <a:srgbClr val="171717"/>
                </a:solidFill>
                <a:latin typeface="Times New Roman"/>
                <a:cs typeface="Times New Roman"/>
              </a:rPr>
              <a:t>организации)</a:t>
            </a:r>
          </a:p>
          <a:p>
            <a:pPr marL="12700" marR="0" indent="0" algn="l" defTabSz="914400" rtl="0" eaLnBrk="1" fontAlgn="auto" latinLnBrk="0" hangingPunct="1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 smtClean="0">
                <a:solidFill>
                  <a:srgbClr val="171717"/>
                </a:solidFill>
                <a:latin typeface="Times New Roman"/>
                <a:cs typeface="Times New Roman"/>
              </a:rPr>
              <a:t>Единая </a:t>
            </a:r>
            <a:r>
              <a:rPr lang="ru-RU" sz="1200" b="1" spc="-15" dirty="0" smtClean="0">
                <a:solidFill>
                  <a:srgbClr val="171717"/>
                </a:solidFill>
                <a:latin typeface="Times New Roman"/>
                <a:cs typeface="Times New Roman"/>
              </a:rPr>
              <a:t>образовательная </a:t>
            </a:r>
            <a:r>
              <a:rPr lang="ru-RU" sz="1200" b="1" spc="-5" dirty="0" smtClean="0">
                <a:solidFill>
                  <a:srgbClr val="171717"/>
                </a:solidFill>
                <a:latin typeface="Times New Roman"/>
                <a:cs typeface="Times New Roman"/>
              </a:rPr>
              <a:t>программа </a:t>
            </a:r>
            <a:r>
              <a:rPr lang="ru-RU" sz="1200" b="1" spc="-10" dirty="0" smtClean="0">
                <a:solidFill>
                  <a:srgbClr val="171717"/>
                </a:solidFill>
                <a:latin typeface="Times New Roman"/>
                <a:cs typeface="Times New Roman"/>
              </a:rPr>
              <a:t>технологической</a:t>
            </a:r>
            <a:r>
              <a:rPr lang="ru-RU" sz="1200" b="1" spc="30" dirty="0" smtClean="0">
                <a:solidFill>
                  <a:srgbClr val="171717"/>
                </a:solidFill>
                <a:latin typeface="Times New Roman"/>
                <a:cs typeface="Times New Roman"/>
              </a:rPr>
              <a:t> </a:t>
            </a:r>
            <a:r>
              <a:rPr lang="ru-RU" sz="1200" b="1" spc="-30" dirty="0" smtClean="0">
                <a:solidFill>
                  <a:srgbClr val="171717"/>
                </a:solidFill>
                <a:latin typeface="Times New Roman"/>
                <a:cs typeface="Times New Roman"/>
              </a:rPr>
              <a:t>подготовки</a:t>
            </a:r>
            <a:endParaRPr lang="ru-RU" sz="1200" dirty="0" smtClean="0">
              <a:latin typeface="Times New Roman"/>
              <a:cs typeface="Times New Roman"/>
            </a:endParaRPr>
          </a:p>
          <a:p>
            <a:pPr marL="12700" marR="0" indent="0" algn="l" defTabSz="914400" rtl="0" eaLnBrk="1" fontAlgn="auto" latinLnBrk="0" hangingPunct="1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spc="-20" dirty="0" smtClean="0">
                <a:solidFill>
                  <a:srgbClr val="171717"/>
                </a:solidFill>
                <a:latin typeface="Times New Roman"/>
                <a:cs typeface="Times New Roman"/>
              </a:rPr>
              <a:t>Универсальная</a:t>
            </a:r>
            <a:r>
              <a:rPr lang="ru-RU" sz="1200" b="1" spc="-25" dirty="0" smtClean="0">
                <a:solidFill>
                  <a:srgbClr val="171717"/>
                </a:solidFill>
                <a:latin typeface="Times New Roman"/>
                <a:cs typeface="Times New Roman"/>
              </a:rPr>
              <a:t> </a:t>
            </a:r>
            <a:r>
              <a:rPr lang="ru-RU" sz="1200" b="1" spc="-5" dirty="0" smtClean="0">
                <a:solidFill>
                  <a:srgbClr val="171717"/>
                </a:solidFill>
                <a:latin typeface="Times New Roman"/>
                <a:cs typeface="Times New Roman"/>
              </a:rPr>
              <a:t>направленность</a:t>
            </a:r>
            <a:endParaRPr lang="ru-RU" sz="1200" dirty="0" smtClean="0">
              <a:latin typeface="Times New Roman"/>
              <a:cs typeface="Times New Roman"/>
            </a:endParaRPr>
          </a:p>
          <a:p>
            <a:pPr marL="12700" marR="0" indent="0" algn="l" defTabSz="914400" rtl="0" eaLnBrk="1" fontAlgn="auto" latinLnBrk="0" hangingPunct="1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spc="-5" dirty="0" smtClean="0">
                <a:solidFill>
                  <a:srgbClr val="171717"/>
                </a:solidFill>
                <a:latin typeface="Times New Roman"/>
                <a:cs typeface="Times New Roman"/>
              </a:rPr>
              <a:t>Профильная</a:t>
            </a:r>
            <a:r>
              <a:rPr lang="ru-RU" sz="1200" b="1" spc="-40" dirty="0" smtClean="0">
                <a:solidFill>
                  <a:srgbClr val="171717"/>
                </a:solidFill>
                <a:latin typeface="Times New Roman"/>
                <a:cs typeface="Times New Roman"/>
              </a:rPr>
              <a:t> </a:t>
            </a:r>
            <a:r>
              <a:rPr lang="ru-RU" sz="1200" b="1" spc="-5" dirty="0" smtClean="0">
                <a:solidFill>
                  <a:srgbClr val="171717"/>
                </a:solidFill>
                <a:latin typeface="Times New Roman"/>
                <a:cs typeface="Times New Roman"/>
              </a:rPr>
              <a:t>направленность</a:t>
            </a:r>
            <a:endParaRPr lang="ru-RU" sz="1200" dirty="0" smtClean="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  <a:spcBef>
                <a:spcPts val="90"/>
              </a:spcBef>
            </a:pPr>
            <a:endParaRPr lang="ru-RU" sz="1200" spc="-10" dirty="0" smtClean="0">
              <a:solidFill>
                <a:srgbClr val="171717"/>
              </a:solidFill>
              <a:latin typeface="Times New Roman"/>
              <a:cs typeface="Times New Roman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 smtClean="0"/>
              <a:t>Сетевая модель</a:t>
            </a:r>
          </a:p>
          <a:p>
            <a:pPr marL="12700" marR="0" indent="0" algn="l" defTabSz="914400" rtl="0" eaLnBrk="1" fontAlgn="auto" latinLnBrk="0" hangingPunct="1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spc="-5" dirty="0" smtClean="0">
                <a:solidFill>
                  <a:srgbClr val="171717"/>
                </a:solidFill>
                <a:latin typeface="Times New Roman"/>
                <a:cs typeface="Times New Roman"/>
              </a:rPr>
              <a:t>(социально-образовательное</a:t>
            </a:r>
            <a:r>
              <a:rPr lang="ru-RU" sz="1200" spc="-55" dirty="0" smtClean="0">
                <a:solidFill>
                  <a:srgbClr val="171717"/>
                </a:solidFill>
                <a:latin typeface="Times New Roman"/>
                <a:cs typeface="Times New Roman"/>
              </a:rPr>
              <a:t> </a:t>
            </a:r>
            <a:r>
              <a:rPr lang="ru-RU" sz="1200" spc="-5" dirty="0" err="1" smtClean="0">
                <a:solidFill>
                  <a:srgbClr val="171717"/>
                </a:solidFill>
                <a:latin typeface="Times New Roman"/>
                <a:cs typeface="Times New Roman"/>
              </a:rPr>
              <a:t>партнерство</a:t>
            </a:r>
            <a:r>
              <a:rPr lang="ru-RU" sz="1200" spc="-5" dirty="0" smtClean="0">
                <a:solidFill>
                  <a:srgbClr val="171717"/>
                </a:solidFill>
                <a:latin typeface="Times New Roman"/>
                <a:cs typeface="Times New Roman"/>
              </a:rPr>
              <a:t>)</a:t>
            </a:r>
          </a:p>
          <a:p>
            <a:pPr marL="12700" marR="0" indent="0" algn="l" defTabSz="914400" rtl="0" eaLnBrk="1" fontAlgn="auto" latinLnBrk="0" hangingPunct="1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 smtClean="0">
              <a:latin typeface="Times New Roman"/>
              <a:cs typeface="Times New Roman"/>
            </a:endParaRPr>
          </a:p>
          <a:p>
            <a:pPr marL="12700">
              <a:lnSpc>
                <a:spcPct val="100000"/>
              </a:lnSpc>
              <a:spcBef>
                <a:spcPts val="90"/>
              </a:spcBef>
            </a:pPr>
            <a:endParaRPr lang="ru-RU" sz="1200" dirty="0" smtClean="0">
              <a:latin typeface="Times New Roman"/>
              <a:cs typeface="Times New Roman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631975" y="6464463"/>
            <a:ext cx="4309806" cy="340064"/>
          </a:xfrm>
          <a:prstGeom prst="rect">
            <a:avLst/>
          </a:prstGeom>
        </p:spPr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26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1164588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226177">
              <a:defRPr/>
            </a:pPr>
            <a:r>
              <a:rPr lang="ru-RU" dirty="0" smtClean="0"/>
              <a:t>Шаг 3. Убедиться,  что выбранная рабочая программа способствует реализации целей и  задач образовательной программы и учебного плана  образовательного учреждения</a:t>
            </a:r>
          </a:p>
          <a:p>
            <a:endParaRPr lang="ru-RU" dirty="0" smtClean="0"/>
          </a:p>
          <a:p>
            <a:r>
              <a:rPr lang="ru-RU" dirty="0" smtClean="0"/>
              <a:t>Шаг 4. Это условия.</a:t>
            </a:r>
            <a:r>
              <a:rPr lang="ru-RU" baseline="0" dirty="0" smtClean="0"/>
              <a:t> Он может менять количество часов на изучение той или иной темы исходя из МТБ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172823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Это значит что каждая образовательная организация самостоятельно разрабатывает образовательные программы на каждый уровень образования ориентируясь на ФГОС и ПООП.</a:t>
            </a:r>
          </a:p>
        </p:txBody>
      </p:sp>
    </p:spTree>
    <p:extLst>
      <p:ext uri="{BB962C8B-B14F-4D97-AF65-F5344CB8AC3E}">
        <p14:creationId xmlns:p14="http://schemas.microsoft.com/office/powerpoint/2010/main" val="215033825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defTabSz="904707">
              <a:lnSpc>
                <a:spcPct val="90000"/>
              </a:lnSpc>
              <a:spcBef>
                <a:spcPts val="989"/>
              </a:spcBef>
            </a:pPr>
            <a:r>
              <a:rPr lang="ru-RU" kern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.9. «ПООП разрабатываются … на основе ФГОС…»</a:t>
            </a:r>
          </a:p>
          <a:p>
            <a:pPr algn="l" defTabSz="904707">
              <a:lnSpc>
                <a:spcPct val="90000"/>
              </a:lnSpc>
              <a:spcBef>
                <a:spcPts val="989"/>
              </a:spcBef>
            </a:pPr>
            <a:endParaRPr lang="ru-RU" kern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l" defTabSz="904707">
              <a:lnSpc>
                <a:spcPct val="90000"/>
              </a:lnSpc>
              <a:spcBef>
                <a:spcPts val="989"/>
              </a:spcBef>
            </a:pPr>
            <a:r>
              <a:rPr lang="ru-RU" kern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.10. «ПООП включаются по результатам экспертизы в реестр ПООП, являющейся государственной информационной системой»</a:t>
            </a:r>
          </a:p>
        </p:txBody>
      </p:sp>
    </p:spTree>
    <p:extLst>
      <p:ext uri="{BB962C8B-B14F-4D97-AF65-F5344CB8AC3E}">
        <p14:creationId xmlns:p14="http://schemas.microsoft.com/office/powerpoint/2010/main" val="38765435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defTabSz="226177"/>
            <a:r>
              <a:rPr lang="ru-RU" kern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.7. «Образовательные организации разрабатывают образовательные программы в соответствии с Федеральными Государственными Образовательными Стандартами и с учётом соответствующих Примерных Основных Образовательных Программ»</a:t>
            </a:r>
          </a:p>
        </p:txBody>
      </p:sp>
    </p:spTree>
    <p:extLst>
      <p:ext uri="{BB962C8B-B14F-4D97-AF65-F5344CB8AC3E}">
        <p14:creationId xmlns:p14="http://schemas.microsoft.com/office/powerpoint/2010/main" val="417715807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883198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100" b="0" i="0" u="none" strike="noStrike" baseline="0" dirty="0" smtClean="0">
                <a:latin typeface="Helvetica Neue"/>
                <a:ea typeface="Helvetica Neue"/>
                <a:cs typeface="Helvetica Neue"/>
                <a:sym typeface="Helvetica Neue"/>
              </a:rPr>
              <a:t>8. Стандарт устанавливает требования к результатам освоения обучающимися основной образовательной программы основного общего образования:</a:t>
            </a:r>
          </a:p>
          <a:p>
            <a:r>
              <a:rPr lang="ru-RU" sz="1100" b="0" i="0" u="none" strike="noStrike" baseline="0" dirty="0" smtClean="0">
                <a:latin typeface="Helvetica Neue"/>
                <a:ea typeface="Helvetica Neue"/>
                <a:cs typeface="Helvetica Neue"/>
                <a:sym typeface="Helvetica Neue"/>
              </a:rPr>
              <a:t>личностным, включающим готовность и способность обучающихся к саморазвитию и личностному самоопределению, сформированность их мотивации к обучению и целенаправленной познавательной деятельности, системы значимых социальных и межличностных отношений, ценностно-смысловых установок, отражающих личностные и гражданские позиции в деятельности, социальные компетенции, правосознание, способность ставить цели и строить жизненные планы, способность к осознанию российской идентичности в поликультурном социуме; </a:t>
            </a:r>
          </a:p>
          <a:p>
            <a:endParaRPr lang="ru-RU" sz="1100" b="0" i="0" u="none" strike="noStrike" baseline="0" dirty="0" smtClean="0">
              <a:latin typeface="Helvetica Neue"/>
              <a:ea typeface="Helvetica Neue"/>
              <a:cs typeface="Helvetica Neue"/>
              <a:sym typeface="Helvetica Neue"/>
            </a:endParaRPr>
          </a:p>
          <a:p>
            <a:r>
              <a:rPr lang="ru-RU" sz="1100" b="0" i="0" u="none" strike="noStrike" baseline="0" dirty="0" smtClean="0">
                <a:latin typeface="Helvetica Neue"/>
                <a:ea typeface="Helvetica Neue"/>
                <a:cs typeface="Helvetica Neue"/>
                <a:sym typeface="Helvetica Neue"/>
              </a:rPr>
              <a:t>метапредметным, включающим освоенные обучающимися межпредметные понятия и универсальные учебные действия (регулятивные, познавательные, коммуникативные), способность их использования в учебной, познавательной и социальной практике, самостоятельность планирования и осуществления учебной деятельности и организации учебного сотрудничества с педагогами и сверстниками, построение индивидуальной образовательной траектории; </a:t>
            </a:r>
          </a:p>
          <a:p>
            <a:endParaRPr lang="ru-RU" sz="1100" b="0" i="0" u="none" strike="noStrike" baseline="0" dirty="0" smtClean="0">
              <a:latin typeface="Helvetica Neue"/>
              <a:ea typeface="Helvetica Neue"/>
              <a:cs typeface="Helvetica Neue"/>
              <a:sym typeface="Helvetica Neue"/>
            </a:endParaRPr>
          </a:p>
          <a:p>
            <a:r>
              <a:rPr lang="ru-RU" sz="1100" b="0" i="0" u="none" strike="noStrike" baseline="0" dirty="0" smtClean="0">
                <a:latin typeface="Helvetica Neue"/>
                <a:ea typeface="Helvetica Neue"/>
                <a:cs typeface="Helvetica Neue"/>
                <a:sym typeface="Helvetica Neue"/>
              </a:rPr>
              <a:t>предметным, включающим освоенные обучающимися в ходе изучения учебного предмета умения, специфические для данной предметной области, виды деятельности по получению нового знания в рамках учебного предмета, его преобразованию и применению в учебных, учебно-проектных и социально-проектных ситуациях, формирование научного типа мышления, научных представлений о ключевых теориях, типах и видах отношений, владение научной терминологией, ключевыми понятиями, методами и приёмам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8B1E1F-1E50-409C-9E67-67BBDF061597}" type="slidenum">
              <a:rPr lang="ru-RU" smtClean="0"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19544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.5. Правительству РФ при разработке национального проекта в сфере образования исходить из того, что к 2024 г.  необходимо обеспечить 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) достижение следующих </a:t>
            </a:r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целей и целевых показателей: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беспечение глобальной конкурентоспособности российского образования, вхождение РФ в число 10 ведущих стран мира по качеству общего образования;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оспитание гармонично развитой и социально ответственной личности на основе духовно-нравственных ценностей народов РФ, исторических и национально-культурных традиций;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631975" y="6464463"/>
            <a:ext cx="4309806" cy="340064"/>
          </a:xfrm>
          <a:prstGeom prst="rect">
            <a:avLst/>
          </a:prstGeom>
        </p:spPr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3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7530143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just" defTabSz="228600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Примерная программа не может быть использована в качестве рабочей, поскольку не задают последовательности изучения материала и распределения его по классам или годам обучения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433255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226177"/>
            <a:r>
              <a:rPr lang="ru-RU" dirty="0">
                <a:solidFill>
                  <a:schemeClr val="tx1"/>
                </a:solidFill>
              </a:rPr>
              <a:t>Примерная основная образовательная программа определяет цель, задачи, планируемые результаты, содержание и организацию образовательной деятельности  при получении общего образования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042082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348306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641320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982133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920940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893669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ru-RU" dirty="0" smtClean="0"/>
              <a:t>Поскольку рабочие программы учебных предметов, курсов являются компонентом основной общеобразовательной программы ступени образования, их разработка и утверждение относится к компетенции образовательной организации (ст. 12 п. 5 ФЗ «Об образовании в РФ»).</a:t>
            </a:r>
          </a:p>
          <a:p>
            <a:pPr algn="just"/>
            <a:r>
              <a:rPr lang="ru-RU" dirty="0" smtClean="0"/>
              <a:t>Следовательно, регламентировать структуру и содержание рабочей программы в образовательной организации может локальный акт, например, «Положение о рабочей программе учебного предмета, курса». Данный локальный акт определяет правила, нормы, объективно отражающие требования к рабочим программам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091694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ояснительную записку, в которой конкретизируются цели  общего образования с </a:t>
            </a:r>
            <a:r>
              <a:rPr lang="ru-RU" dirty="0" err="1"/>
              <a:t>учетом</a:t>
            </a:r>
            <a:r>
              <a:rPr lang="ru-RU" dirty="0"/>
              <a:t> специфики учебного предмета;</a:t>
            </a:r>
          </a:p>
          <a:p>
            <a:r>
              <a:rPr lang="ru-RU" dirty="0"/>
              <a:t>общую характеристику учебного предмета, курса;</a:t>
            </a:r>
          </a:p>
          <a:p>
            <a:r>
              <a:rPr lang="ru-RU" dirty="0"/>
              <a:t>описание места учебного предмета, курса в учебном плане;</a:t>
            </a:r>
          </a:p>
          <a:p>
            <a:r>
              <a:rPr lang="ru-RU" dirty="0"/>
              <a:t>личностные, метапредметные и предметные результаты</a:t>
            </a:r>
          </a:p>
          <a:p>
            <a:r>
              <a:rPr lang="ru-RU" dirty="0"/>
              <a:t>освоения конкретного учебного предмета, курса;</a:t>
            </a:r>
          </a:p>
          <a:p>
            <a:r>
              <a:rPr lang="ru-RU" dirty="0"/>
              <a:t>содержание учебного предмета, курса;</a:t>
            </a:r>
          </a:p>
          <a:p>
            <a:r>
              <a:rPr lang="ru-RU" dirty="0"/>
              <a:t>тематическое планирование с определением основных  видов учебной деятельности;</a:t>
            </a:r>
          </a:p>
          <a:p>
            <a:r>
              <a:rPr lang="ru-RU" dirty="0"/>
              <a:t>описание учебно-методического и материально-</a:t>
            </a:r>
          </a:p>
          <a:p>
            <a:r>
              <a:rPr lang="ru-RU" dirty="0"/>
              <a:t>технического обеспечения образовательной деятельности;</a:t>
            </a:r>
          </a:p>
          <a:p>
            <a:r>
              <a:rPr lang="ru-RU" dirty="0"/>
              <a:t>планируемые результаты изучения учебного предмета,  курса.</a:t>
            </a:r>
          </a:p>
        </p:txBody>
      </p:sp>
    </p:spTree>
    <p:extLst>
      <p:ext uri="{BB962C8B-B14F-4D97-AF65-F5344CB8AC3E}">
        <p14:creationId xmlns:p14="http://schemas.microsoft.com/office/powerpoint/2010/main" val="131955001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3155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оект «Современная школа» предполагает внедрение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новых методов и образовательных технологий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– педагогических и информационных, – которые способствуют: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овлечению учащихся в учебный процесс, повышению их мотивации,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лучению прочных базовых знаний и умений,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формированию умения применять полученные знания в жизни на благо обществу.</a:t>
            </a:r>
          </a:p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ными словами, современная школа – это такая школа, в которой широко используются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актики развивающего обучения: 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здание учебных ситуаций, </a:t>
            </a: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нициирующих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учебную деятельность учащихся, </a:t>
            </a: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мотивирующих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их на учебную деятельность;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учение в общении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(</a:t>
            </a: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учебное сотрудничество),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задания на работу в парах и малых группах;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исковая активность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– задания поискового характера, учебные исследования, проекты;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ценочная самостоятельность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школьников, задания на само- и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заимооценку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</a:t>
            </a:r>
          </a:p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се эти практики широко представлены в учебниках «Просвещения»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631975" y="6464463"/>
            <a:ext cx="4309806" cy="340064"/>
          </a:xfrm>
          <a:prstGeom prst="rect">
            <a:avLst/>
          </a:prstGeom>
        </p:spPr>
        <p:txBody>
          <a:bodyPr/>
          <a:lstStyle/>
          <a:p>
            <a:fld id="{9447256E-483B-4BC1-BFF8-D2418426C52D}" type="slidenum">
              <a:rPr lang="ru-RU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ru-RU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12494840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3155347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226177">
              <a:defRPr/>
            </a:pPr>
            <a:r>
              <a:rPr lang="ru-RU" dirty="0" smtClean="0"/>
              <a:t>Шаг 3. Убедиться,  что выбранная рабочая программа способствует реализации целей и  задач образовательной программы и учебного плана  образовательного учреждения</a:t>
            </a:r>
          </a:p>
          <a:p>
            <a:endParaRPr lang="ru-RU" dirty="0" smtClean="0"/>
          </a:p>
          <a:p>
            <a:r>
              <a:rPr lang="ru-RU" dirty="0" smtClean="0"/>
              <a:t>Шаг 4. Это условия.</a:t>
            </a:r>
            <a:r>
              <a:rPr lang="ru-RU" baseline="0" dirty="0" smtClean="0"/>
              <a:t> Он может менять количество часов на изучение той или иной темы исходя из МТБ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087704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41992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226177">
              <a:defRPr/>
            </a:pPr>
            <a:r>
              <a:rPr lang="ru-RU" dirty="0" smtClean="0"/>
              <a:t>Шаг 3. Убедиться,  что выбранная рабочая программа способствует реализации целей и  задач образовательной программы и учебного плана  образовательного учреждения</a:t>
            </a:r>
          </a:p>
          <a:p>
            <a:endParaRPr lang="ru-RU" dirty="0" smtClean="0"/>
          </a:p>
          <a:p>
            <a:r>
              <a:rPr lang="ru-RU" dirty="0" smtClean="0"/>
              <a:t>Шаг 4. Это условия.</a:t>
            </a:r>
            <a:r>
              <a:rPr lang="ru-RU" baseline="0" dirty="0" smtClean="0"/>
              <a:t> Он может менять количество часов на изучение той или иной темы исходя из МТБ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388642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935023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948035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Шаг 8. Сопоставить содержание выбранной авторской рабочей программы с содержанием ПООП. Выделить перечень тем и отдельных вопросов, содержащихся в ПООП по учебному предмету, учебного плана, но не включённых в рабочую программу. Определить разделы, темы, вопросы авторской рабочей программы, которые носят избыточный характер в рамках реализации ОП ОО.</a:t>
            </a:r>
          </a:p>
          <a:p>
            <a:r>
              <a:rPr lang="ru-RU" dirty="0" smtClean="0"/>
              <a:t>Шаг</a:t>
            </a:r>
            <a:r>
              <a:rPr lang="ru-RU" baseline="0" dirty="0" smtClean="0"/>
              <a:t> </a:t>
            </a:r>
            <a:r>
              <a:rPr lang="ru-RU" dirty="0" smtClean="0"/>
              <a:t>9. Включить (или исключить) в (из) содержание(я) Рабочей программы разделы, темы, вопросы, которые были выделены в ходе анализа избыточного и недостающего информационного материала двух программ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654388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5148674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ыделить перечень  проверяемых умений (кодификатор) согласно этапу обучения и цели  контроля; подобрать контролирующие задания, направленные на  проверку планируемых умений; составить схему анализа работы в  контексте поставленной цели контроля, позволяющую получить  объективную информацию для коррекции учебного процесса</a:t>
            </a:r>
          </a:p>
          <a:p>
            <a:endParaRPr lang="ru-RU" dirty="0" smtClean="0"/>
          </a:p>
          <a:p>
            <a:r>
              <a:rPr lang="ru-RU" dirty="0" smtClean="0"/>
              <a:t>Учителя технологии (вариантов А и Б) совместно планируют подходы к выполнению программы. Составляют рабочую программу и утверждают в администрации школ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077585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alt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риативность рабочих программ </a:t>
            </a:r>
            <a:br>
              <a:rPr lang="ru-RU" alt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от чего она зависит…</a:t>
            </a:r>
          </a:p>
          <a:p>
            <a:endParaRPr lang="ru-RU" altLang="ru-RU" sz="11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alt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петенции учителя </a:t>
            </a:r>
          </a:p>
          <a:p>
            <a:r>
              <a:rPr lang="ru-RU" dirty="0" smtClean="0"/>
              <a:t>Материально-техническая база </a:t>
            </a:r>
          </a:p>
          <a:p>
            <a:endParaRPr lang="ru-RU" dirty="0" smtClean="0"/>
          </a:p>
          <a:p>
            <a:r>
              <a:rPr lang="ru-RU" b="1" dirty="0" smtClean="0"/>
              <a:t>Группа А</a:t>
            </a:r>
            <a:r>
              <a:rPr lang="ru-RU" dirty="0" smtClean="0"/>
              <a:t> направлена на более подробное изучение технологии получения и преобразования древесины, технологии получения и преобразования металлов.</a:t>
            </a:r>
          </a:p>
          <a:p>
            <a:endParaRPr lang="ru-RU" dirty="0" smtClean="0"/>
          </a:p>
          <a:p>
            <a:r>
              <a:rPr lang="ru-RU" b="1" dirty="0" smtClean="0"/>
              <a:t>Группа В</a:t>
            </a:r>
            <a:r>
              <a:rPr lang="ru-RU" dirty="0" smtClean="0"/>
              <a:t> нацелена на более подробное изучение технологии получения и преобразования текстильных материалов, технологии обработки пищевых продуктов.</a:t>
            </a:r>
          </a:p>
          <a:p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50399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28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собенности УМК по технологии Казакевича В.М. и др.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28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накомит учащихся не только с традиционными технологиями (обработка древесины, металлов, тканей, пищевых продуктов), но и с миром современных технологий.</a:t>
            </a:r>
          </a:p>
          <a:p>
            <a:pPr marL="0" marR="0" lvl="0" indent="28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одержание курса переводит учащихся от технологий ручного труда в 5-7 классах к развивающимся и перспективным технологическим процессам в 8-9 классах (</a:t>
            </a:r>
            <a:r>
              <a:rPr kumimoji="0" lang="ru-RU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нотехнология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робототехника, технология 3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-формообразования и пр.).</a:t>
            </a:r>
          </a:p>
          <a:p>
            <a:pPr marL="0" marR="0" lvl="0" indent="28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аёт возможность формирования групп по интересам, руководствуясь не только гендерным признаком.</a:t>
            </a:r>
          </a:p>
          <a:p>
            <a:pPr marL="0" marR="0" lvl="0" indent="28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одержит лабораторно-практические, исследовательские, проектные и творческие задания для работы в учебных кабинетах, мастерских и на пришкольном участке.</a:t>
            </a:r>
          </a:p>
          <a:p>
            <a:pPr marL="0" marR="0" lvl="0" indent="28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ключает актуальную информацию о мире профессий в различных сферах производства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876688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ыделить перечень  проверяемых умений (кодификатор) согласно этапу обучения и цели  контроля; подобрать контролирующие задания, направленные на  проверку планируемых умений; составить схему анализа работы в  контексте поставленной цели контроля, позволяющую получить  объективную информацию для коррекции учебного процесса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6781956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0064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аши учебники помогают учителю реализовать эти практики. В</a:t>
            </a:r>
            <a:r>
              <a:rPr lang="ru-RU" baseline="0" dirty="0" smtClean="0"/>
              <a:t> нашем </a:t>
            </a:r>
            <a:r>
              <a:rPr lang="ru-RU" dirty="0" smtClean="0"/>
              <a:t>в комплекте учебников каждый новый раздел или модуль начинается с целеполагания. </a:t>
            </a:r>
          </a:p>
          <a:p>
            <a:r>
              <a:rPr lang="ru-RU" dirty="0" smtClean="0"/>
              <a:t>Учебники помогают учителю:</a:t>
            </a:r>
          </a:p>
          <a:p>
            <a:pPr marL="171450" indent="-171450">
              <a:buFontTx/>
              <a:buChar char="-"/>
            </a:pPr>
            <a:r>
              <a:rPr lang="ru-RU" dirty="0" smtClean="0"/>
              <a:t>вовлечь учащихся в целесообразную учебную деятельность;</a:t>
            </a:r>
          </a:p>
          <a:p>
            <a:pPr marL="171450" indent="-171450">
              <a:buFontTx/>
              <a:buChar char="-"/>
            </a:pPr>
            <a:r>
              <a:rPr lang="ru-RU" dirty="0" smtClean="0"/>
              <a:t>сориентировать детей в том, какого результата они хотят добиться;</a:t>
            </a:r>
          </a:p>
          <a:p>
            <a:pPr marL="171450" indent="-171450">
              <a:buFontTx/>
              <a:buChar char="-"/>
            </a:pPr>
            <a:r>
              <a:rPr lang="ru-RU" dirty="0" smtClean="0"/>
              <a:t>в чём заключается этот результат, как он будет проверяться и оцениваться.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65771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dirty="0" smtClean="0"/>
              <a:t>Учебное сотрудничество – важнейшая и необходимая составляющая учебной самостоятельности (т. е. умения самостоятельно учить себя). </a:t>
            </a:r>
          </a:p>
          <a:p>
            <a:pPr marL="0" marR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Ещё в школе дети должны понять, что может быть и иное мнение, научиться </a:t>
            </a:r>
            <a:r>
              <a:rPr lang="ru-RU" i="1" dirty="0" smtClean="0"/>
              <a:t>слушать и слышать мнение партнёра</a:t>
            </a:r>
            <a:r>
              <a:rPr lang="ru-RU" dirty="0" smtClean="0"/>
              <a:t>. Обмен мнениями, позициями по поводу учебного задания – </a:t>
            </a:r>
            <a:r>
              <a:rPr lang="ru-RU" i="1" dirty="0" smtClean="0"/>
              <a:t>А ты как понял задание? А ты как будешь делать? А как ты делал? … –  </a:t>
            </a:r>
            <a:r>
              <a:rPr lang="ru-RU" dirty="0" smtClean="0"/>
              <a:t>и позволяет ребёнку </a:t>
            </a:r>
            <a:r>
              <a:rPr lang="ru-RU" i="1" dirty="0" smtClean="0"/>
              <a:t>понять учебную задачу</a:t>
            </a:r>
            <a:r>
              <a:rPr lang="ru-RU" dirty="0" smtClean="0"/>
              <a:t>, </a:t>
            </a:r>
            <a:r>
              <a:rPr lang="ru-RU" i="1" dirty="0" smtClean="0"/>
              <a:t>увидеть противоречия</a:t>
            </a:r>
            <a:r>
              <a:rPr lang="ru-RU" dirty="0" smtClean="0"/>
              <a:t>, </a:t>
            </a:r>
            <a:r>
              <a:rPr lang="ru-RU" i="1" dirty="0" smtClean="0"/>
              <a:t>задать вопрос </a:t>
            </a:r>
            <a:r>
              <a:rPr lang="ru-RU" dirty="0" smtClean="0"/>
              <a:t>учителю, </a:t>
            </a:r>
            <a:r>
              <a:rPr lang="ru-RU" i="1" dirty="0" smtClean="0"/>
              <a:t>сформулировать образовательный запрос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Дети учатся уважительно обращаться друг к другу, осваивают речевые обороты (формулы) для прояснения позиций и порядка обсуждения, учатся действовать в ситуации несогласия, выявлять противоречия и конструктивно разрешать конфликты.</a:t>
            </a:r>
          </a:p>
          <a:p>
            <a:pPr indent="287970"/>
            <a:r>
              <a:rPr lang="ru-RU" dirty="0" smtClean="0"/>
              <a:t>Они учатся </a:t>
            </a:r>
            <a:r>
              <a:rPr lang="ru-RU" i="1" dirty="0" smtClean="0"/>
              <a:t>сотрудничать</a:t>
            </a:r>
            <a:r>
              <a:rPr lang="ru-RU" dirty="0" smtClean="0"/>
              <a:t>: осознавать необходимость сотрудничества в определённых ситуациях, распределять обязанности, определять вклад каждого, личный вклад, осваивать роли как лидера, так и члена команды. Осваивают роли, соответствующие тем или иным функциям учебной деятельности.</a:t>
            </a:r>
          </a:p>
          <a:p>
            <a:pPr indent="287970"/>
            <a:r>
              <a:rPr lang="ru-RU" dirty="0" smtClean="0"/>
              <a:t>Навык позиционного сотрудничества лежит и в основе любой творческой деятельности, поскольку </a:t>
            </a:r>
            <a:r>
              <a:rPr lang="ru-RU" b="1" dirty="0" smtClean="0"/>
              <a:t>приучает детей всё время рассматривать объекты, явления, суждения с разных точек зрения, с разных позиций</a:t>
            </a:r>
            <a:r>
              <a:rPr lang="ru-RU" dirty="0" smtClean="0"/>
              <a:t>; </a:t>
            </a:r>
            <a:r>
              <a:rPr lang="ru-RU" b="1" dirty="0" smtClean="0"/>
              <a:t>учит сомневаться</a:t>
            </a:r>
            <a:r>
              <a:rPr lang="ru-RU" dirty="0" smtClean="0"/>
              <a:t>, </a:t>
            </a:r>
            <a:r>
              <a:rPr lang="ru-RU" b="1" dirty="0" smtClean="0"/>
              <a:t>ставить проблемы </a:t>
            </a:r>
            <a:r>
              <a:rPr lang="ru-RU" dirty="0" smtClean="0"/>
              <a:t>и </a:t>
            </a:r>
            <a:r>
              <a:rPr lang="ru-RU" b="1" dirty="0" smtClean="0"/>
              <a:t>предлагать решения</a:t>
            </a:r>
            <a:r>
              <a:rPr lang="ru-RU" dirty="0" smtClean="0"/>
              <a:t>.</a:t>
            </a:r>
          </a:p>
          <a:p>
            <a:pPr indent="287970"/>
            <a:r>
              <a:rPr lang="ru-RU" dirty="0" smtClean="0"/>
              <a:t>Лучший способ формировать навыки учебного сотрудничества</a:t>
            </a:r>
            <a:r>
              <a:rPr lang="ru-RU" baseline="0" dirty="0" smtClean="0"/>
              <a:t> (позиционного сотрудничества), навыки учения в общении – это предоставить детям возможность </a:t>
            </a:r>
            <a:r>
              <a:rPr lang="ru-RU" b="1" baseline="0" dirty="0" smtClean="0"/>
              <a:t>работать в парах и малых группах</a:t>
            </a:r>
            <a:r>
              <a:rPr lang="ru-RU" baseline="0" dirty="0" smtClean="0"/>
              <a:t>. Такие задания широко представлены во всех наших учебниках начиная с 1 класса.</a:t>
            </a:r>
            <a:endParaRPr lang="ru-RU" dirty="0" smtClean="0"/>
          </a:p>
          <a:p>
            <a:pPr indent="287970"/>
            <a:endParaRPr lang="ru-RU" dirty="0" smtClean="0"/>
          </a:p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631975" y="6464463"/>
            <a:ext cx="4309806" cy="340064"/>
          </a:xfrm>
          <a:prstGeom prst="rect">
            <a:avLst/>
          </a:prstGeom>
        </p:spPr>
        <p:txBody>
          <a:bodyPr/>
          <a:lstStyle/>
          <a:p>
            <a:fld id="{9447256E-483B-4BC1-BFF8-D2418426C52D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07489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исковая активность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– т. е. готовность и способность вести как целенаправленный поиск решения, например на основе гипотезы, так и искать ответы и решения с помощью простого перебора вариантов в сочетании с анализом как получаемых результатов, так и способов решения –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лючевой компонент учебной деятельности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своить навыки поисковой активности – означает освоить одну из наиболее эффективных стратегий поведения в ситуации неопределённости. </a:t>
            </a:r>
          </a:p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выки поисковой активности – это умение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блюдать и задавать вопросы, ставить исследовательские вопросы,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ысказывать предположения (например, в ответ на вопрос учителя «А ты как думаешь?»),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ссматривать любое утверждение с разных позиций и выявлять противоречия, выявлять и формулировать проблему,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едлагать возможные способы проверки высказанных предположений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обращаться к личному опыту, прибегать к рассуждениям и аргументации, прибегать к разумным и адекватным методам проверки – наблюдениям, эксперименту, измерениям, опросу, анкетированию, интервью, моделированию, пробным образцам и др., обращаться к надёжным источникам информации – словарям , справочникам и текстам, картам, статистике, хронологии и т. д.)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спользовать различные методы и способы фиксации информации – делать выписки, записывать тезисы и основные выводы, строить таблицы, графики, диаграммы, картосхемы, опорные схемы и т. п.</a:t>
            </a:r>
          </a:p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о всех учебных изданиях представлена система заданий на формирование навыков поисковой активности: задания на поиск информации и работу с ней, на анализ и интерпретацию, на оценки, на выявление противоречий, на постановку проблемы (</a:t>
            </a: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то прав?, Как проверить? А что, если.. ?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др.).</a:t>
            </a:r>
          </a:p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собое значение для формирования навыков поисковой активности имеют такие формы учебной работы как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ебный проект и учебное исследование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Поисковые и исследовательские задания включены во все без исключения учебники.</a:t>
            </a:r>
          </a:p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/>
              <a:t>Есть и </a:t>
            </a:r>
            <a:r>
              <a:rPr lang="ru-RU" sz="1200" b="1" dirty="0" smtClean="0"/>
              <a:t>специализированные учебные издания</a:t>
            </a:r>
            <a:r>
              <a:rPr lang="ru-RU" sz="1200" dirty="0" smtClean="0"/>
              <a:t>, посвящённые целенаправленному формированию исследовательских умений как в ходе уроков, так и во </a:t>
            </a:r>
            <a:r>
              <a:rPr lang="ru-RU" sz="1200" b="1" dirty="0" smtClean="0"/>
              <a:t>внеурочной деятельности</a:t>
            </a:r>
            <a:r>
              <a:rPr lang="ru-RU" sz="1200" dirty="0" smtClean="0"/>
              <a:t>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631975" y="6464463"/>
            <a:ext cx="4309806" cy="340064"/>
          </a:xfrm>
          <a:prstGeom prst="rect">
            <a:avLst/>
          </a:prstGeom>
        </p:spPr>
        <p:txBody>
          <a:bodyPr/>
          <a:lstStyle/>
          <a:p>
            <a:fld id="{9447256E-483B-4BC1-BFF8-D2418426C52D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07489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 того, кто выполняет функции контроля и оценки, – присваивает ли учитель эти функции только себе или делится ими с ребёнком, – во многом зависит эффективность обучения.</a:t>
            </a:r>
          </a:p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ключение ребёнка в самостоятельную оценочную деятельность – лучший способ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нять его/её зависимость от внешней оценки (учителя, взрослых),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мочь ребёнку осознать,</a:t>
            </a:r>
          </a:p>
          <a:p>
            <a:pPr marL="457200" marR="0" lvl="1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1) в чём у него/неё проблемы,</a:t>
            </a:r>
          </a:p>
          <a:p>
            <a:pPr marL="457200" marR="0" lvl="1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2) что нужно делать, чему нужно научиться, чтобы этих проблем не стало,</a:t>
            </a:r>
          </a:p>
          <a:p>
            <a:pPr marL="457200" marR="0" lvl="1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3) как это можно сделать.</a:t>
            </a:r>
          </a:p>
          <a:p>
            <a:pPr marL="0" marR="0" lvl="0" indent="28797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бретение оценочной самостоятельности основано на овладении школьниками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змерительными инструментами,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ритериями, нормами и шкалами,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авилами вынесения оценочных суждений.</a:t>
            </a:r>
          </a:p>
          <a:p>
            <a:pPr marL="0" marR="0" lvl="1" indent="28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владение этими умениями помогает школьникам отделить область своего ЗНАНИЯ от области НЕЗНАНИЯ, что является необходимым условием умения ставить личные познавательные цели.</a:t>
            </a:r>
          </a:p>
          <a:p>
            <a:pPr marL="0" marR="0" lvl="1" indent="28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28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Во всех наших учебных изданиях – и в учебниках, и в пособиях, и рабочих материалах – представлены системы заданий на</a:t>
            </a:r>
          </a:p>
          <a:p>
            <a:pPr marL="628633" marR="0" lvl="1" indent="-17143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взаимо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- и самооценку,</a:t>
            </a:r>
          </a:p>
          <a:p>
            <a:pPr marL="628633" marR="0" lvl="1" indent="-17143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оценку по критериям,</a:t>
            </a:r>
          </a:p>
          <a:p>
            <a:pPr marL="628633" marR="0" lvl="1" indent="-17143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выработку критериев,</a:t>
            </a:r>
          </a:p>
          <a:p>
            <a:pPr marL="628633" marR="0" lvl="1" indent="-17143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рефлексию и принятие личных решений (</a:t>
            </a:r>
            <a:r>
              <a:rPr kumimoji="0" lang="ru-RU" sz="12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Что учить? Что мне важно и для чего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? и т. п.)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5631975" y="6464463"/>
            <a:ext cx="4309806" cy="340064"/>
          </a:xfrm>
          <a:prstGeom prst="rect">
            <a:avLst/>
          </a:prstGeom>
        </p:spPr>
        <p:txBody>
          <a:bodyPr/>
          <a:lstStyle/>
          <a:p>
            <a:fld id="{9447256E-483B-4BC1-BFF8-D2418426C52D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0748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 descr="000356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0"/>
            <a:ext cx="12192003" cy="6858000"/>
          </a:xfrm>
          <a:prstGeom prst="rect">
            <a:avLst/>
          </a:prstGeom>
        </p:spPr>
      </p:pic>
      <p:sp>
        <p:nvSpPr>
          <p:cNvPr id="9" name="Заголовок 1"/>
          <p:cNvSpPr>
            <a:spLocks noGrp="1"/>
          </p:cNvSpPr>
          <p:nvPr>
            <p:ph type="ctrTitle"/>
          </p:nvPr>
        </p:nvSpPr>
        <p:spPr>
          <a:xfrm>
            <a:off x="737188" y="921366"/>
            <a:ext cx="9144000" cy="2387600"/>
          </a:xfrm>
        </p:spPr>
        <p:txBody>
          <a:bodyPr>
            <a:normAutofit fontScale="90000"/>
          </a:bodyPr>
          <a:lstStyle>
            <a:lvl1pPr>
              <a:defRPr/>
            </a:lvl1pPr>
          </a:lstStyle>
          <a:p>
            <a:pPr algn="l"/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/>
          </p:nvPr>
        </p:nvSpPr>
        <p:spPr>
          <a:xfrm>
            <a:off x="737188" y="3507577"/>
            <a:ext cx="9144000" cy="16557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algn="l"/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Рисунок 11" descr="line.jp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 rot="10800000">
            <a:off x="-3" y="6799275"/>
            <a:ext cx="12192001" cy="67350"/>
          </a:xfrm>
          <a:prstGeom prst="rect">
            <a:avLst/>
          </a:prstGeom>
        </p:spPr>
      </p:pic>
      <p:sp>
        <p:nvSpPr>
          <p:cNvPr id="13" name="AutoShape 4"/>
          <p:cNvSpPr>
            <a:spLocks noChangeAspect="1" noChangeArrowheads="1" noTextEdit="1"/>
          </p:cNvSpPr>
          <p:nvPr userDrawn="1"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Freeform 6"/>
          <p:cNvSpPr>
            <a:spLocks/>
          </p:cNvSpPr>
          <p:nvPr userDrawn="1"/>
        </p:nvSpPr>
        <p:spPr bwMode="auto">
          <a:xfrm>
            <a:off x="10104558" y="546724"/>
            <a:ext cx="576131" cy="33206"/>
          </a:xfrm>
          <a:custGeom>
            <a:avLst/>
            <a:gdLst/>
            <a:ahLst/>
            <a:cxnLst>
              <a:cxn ang="0">
                <a:pos x="1505" y="0"/>
              </a:cxn>
              <a:cxn ang="0">
                <a:pos x="0" y="0"/>
              </a:cxn>
              <a:cxn ang="0">
                <a:pos x="0" y="84"/>
              </a:cxn>
              <a:cxn ang="0">
                <a:pos x="1509" y="84"/>
              </a:cxn>
              <a:cxn ang="0">
                <a:pos x="1505" y="0"/>
              </a:cxn>
            </a:cxnLst>
            <a:rect l="0" t="0" r="r" b="b"/>
            <a:pathLst>
              <a:path w="1509" h="84">
                <a:moveTo>
                  <a:pt x="1505" y="0"/>
                </a:moveTo>
                <a:lnTo>
                  <a:pt x="0" y="0"/>
                </a:lnTo>
                <a:lnTo>
                  <a:pt x="0" y="84"/>
                </a:lnTo>
                <a:lnTo>
                  <a:pt x="1509" y="84"/>
                </a:lnTo>
                <a:lnTo>
                  <a:pt x="1505" y="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Freeform 7"/>
          <p:cNvSpPr>
            <a:spLocks/>
          </p:cNvSpPr>
          <p:nvPr userDrawn="1"/>
        </p:nvSpPr>
        <p:spPr bwMode="auto">
          <a:xfrm>
            <a:off x="11029357" y="546724"/>
            <a:ext cx="576131" cy="33206"/>
          </a:xfrm>
          <a:custGeom>
            <a:avLst/>
            <a:gdLst/>
            <a:ahLst/>
            <a:cxnLst>
              <a:cxn ang="0">
                <a:pos x="1510" y="0"/>
              </a:cxn>
              <a:cxn ang="0">
                <a:pos x="9" y="0"/>
              </a:cxn>
              <a:cxn ang="0">
                <a:pos x="0" y="84"/>
              </a:cxn>
              <a:cxn ang="0">
                <a:pos x="1510" y="84"/>
              </a:cxn>
              <a:cxn ang="0">
                <a:pos x="1510" y="0"/>
              </a:cxn>
            </a:cxnLst>
            <a:rect l="0" t="0" r="r" b="b"/>
            <a:pathLst>
              <a:path w="1510" h="84">
                <a:moveTo>
                  <a:pt x="1510" y="0"/>
                </a:moveTo>
                <a:lnTo>
                  <a:pt x="9" y="0"/>
                </a:lnTo>
                <a:lnTo>
                  <a:pt x="0" y="84"/>
                </a:lnTo>
                <a:lnTo>
                  <a:pt x="1510" y="84"/>
                </a:lnTo>
                <a:lnTo>
                  <a:pt x="1510" y="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Freeform 8"/>
          <p:cNvSpPr>
            <a:spLocks/>
          </p:cNvSpPr>
          <p:nvPr userDrawn="1"/>
        </p:nvSpPr>
        <p:spPr bwMode="auto">
          <a:xfrm>
            <a:off x="10099577" y="666268"/>
            <a:ext cx="131166" cy="122864"/>
          </a:xfrm>
          <a:custGeom>
            <a:avLst/>
            <a:gdLst/>
            <a:ahLst/>
            <a:cxnLst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48" y="309"/>
              </a:cxn>
              <a:cxn ang="0">
                <a:pos x="148" y="292"/>
              </a:cxn>
              <a:cxn ang="0">
                <a:pos x="106" y="283"/>
              </a:cxn>
              <a:cxn ang="0">
                <a:pos x="106" y="30"/>
              </a:cxn>
              <a:cxn ang="0">
                <a:pos x="232" y="30"/>
              </a:cxn>
              <a:cxn ang="0">
                <a:pos x="232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0" y="0"/>
              </a:cxn>
              <a:cxn ang="0">
                <a:pos x="0" y="17"/>
              </a:cxn>
            </a:cxnLst>
            <a:rect l="0" t="0" r="r" b="b"/>
            <a:pathLst>
              <a:path w="342" h="309">
                <a:moveTo>
                  <a:pt x="0" y="17"/>
                </a:move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48" y="309"/>
                </a:lnTo>
                <a:lnTo>
                  <a:pt x="148" y="292"/>
                </a:lnTo>
                <a:lnTo>
                  <a:pt x="106" y="283"/>
                </a:lnTo>
                <a:lnTo>
                  <a:pt x="106" y="30"/>
                </a:lnTo>
                <a:lnTo>
                  <a:pt x="232" y="30"/>
                </a:lnTo>
                <a:lnTo>
                  <a:pt x="232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0" y="0"/>
                </a:lnTo>
                <a:lnTo>
                  <a:pt x="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7" name="Freeform 9"/>
          <p:cNvSpPr>
            <a:spLocks noEditPoints="1"/>
          </p:cNvSpPr>
          <p:nvPr userDrawn="1"/>
        </p:nvSpPr>
        <p:spPr bwMode="auto">
          <a:xfrm>
            <a:off x="10253987" y="666268"/>
            <a:ext cx="89658" cy="122864"/>
          </a:xfrm>
          <a:custGeom>
            <a:avLst/>
            <a:gdLst/>
            <a:ahLst/>
            <a:cxnLst>
              <a:cxn ang="0">
                <a:pos x="148" y="0"/>
              </a:cxn>
              <a:cxn ang="0">
                <a:pos x="139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139" y="309"/>
              </a:cxn>
              <a:cxn ang="0">
                <a:pos x="156" y="309"/>
              </a:cxn>
              <a:cxn ang="0">
                <a:pos x="156" y="292"/>
              </a:cxn>
              <a:cxn ang="0">
                <a:pos x="139" y="288"/>
              </a:cxn>
              <a:cxn ang="0">
                <a:pos x="101" y="283"/>
              </a:cxn>
              <a:cxn ang="0">
                <a:pos x="101" y="178"/>
              </a:cxn>
              <a:cxn ang="0">
                <a:pos x="127" y="178"/>
              </a:cxn>
              <a:cxn ang="0">
                <a:pos x="139" y="178"/>
              </a:cxn>
              <a:cxn ang="0">
                <a:pos x="236" y="81"/>
              </a:cxn>
              <a:cxn ang="0">
                <a:pos x="148" y="0"/>
              </a:cxn>
              <a:cxn ang="0">
                <a:pos x="139" y="161"/>
              </a:cxn>
              <a:cxn ang="0">
                <a:pos x="139" y="161"/>
              </a:cxn>
              <a:cxn ang="0">
                <a:pos x="118" y="161"/>
              </a:cxn>
              <a:cxn ang="0">
                <a:pos x="101" y="161"/>
              </a:cxn>
              <a:cxn ang="0">
                <a:pos x="101" y="21"/>
              </a:cxn>
              <a:cxn ang="0">
                <a:pos x="118" y="21"/>
              </a:cxn>
              <a:cxn ang="0">
                <a:pos x="139" y="26"/>
              </a:cxn>
              <a:cxn ang="0">
                <a:pos x="173" y="93"/>
              </a:cxn>
              <a:cxn ang="0">
                <a:pos x="139" y="161"/>
              </a:cxn>
            </a:cxnLst>
            <a:rect l="0" t="0" r="r" b="b"/>
            <a:pathLst>
              <a:path w="236" h="309">
                <a:moveTo>
                  <a:pt x="148" y="0"/>
                </a:moveTo>
                <a:lnTo>
                  <a:pt x="139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139" y="309"/>
                </a:lnTo>
                <a:lnTo>
                  <a:pt x="156" y="309"/>
                </a:lnTo>
                <a:lnTo>
                  <a:pt x="156" y="292"/>
                </a:lnTo>
                <a:lnTo>
                  <a:pt x="139" y="288"/>
                </a:lnTo>
                <a:lnTo>
                  <a:pt x="101" y="283"/>
                </a:lnTo>
                <a:lnTo>
                  <a:pt x="101" y="178"/>
                </a:lnTo>
                <a:lnTo>
                  <a:pt x="127" y="178"/>
                </a:lnTo>
                <a:lnTo>
                  <a:pt x="139" y="178"/>
                </a:lnTo>
                <a:cubicBezTo>
                  <a:pt x="203" y="174"/>
                  <a:pt x="236" y="144"/>
                  <a:pt x="236" y="81"/>
                </a:cubicBezTo>
                <a:cubicBezTo>
                  <a:pt x="236" y="26"/>
                  <a:pt x="198" y="0"/>
                  <a:pt x="148" y="0"/>
                </a:cubicBezTo>
                <a:close/>
                <a:moveTo>
                  <a:pt x="139" y="161"/>
                </a:moveTo>
                <a:lnTo>
                  <a:pt x="139" y="161"/>
                </a:lnTo>
                <a:lnTo>
                  <a:pt x="118" y="161"/>
                </a:lnTo>
                <a:lnTo>
                  <a:pt x="101" y="161"/>
                </a:lnTo>
                <a:lnTo>
                  <a:pt x="101" y="21"/>
                </a:lnTo>
                <a:lnTo>
                  <a:pt x="118" y="21"/>
                </a:lnTo>
                <a:cubicBezTo>
                  <a:pt x="122" y="21"/>
                  <a:pt x="131" y="21"/>
                  <a:pt x="139" y="26"/>
                </a:cubicBezTo>
                <a:cubicBezTo>
                  <a:pt x="156" y="30"/>
                  <a:pt x="173" y="51"/>
                  <a:pt x="173" y="93"/>
                </a:cubicBezTo>
                <a:cubicBezTo>
                  <a:pt x="173" y="123"/>
                  <a:pt x="165" y="152"/>
                  <a:pt x="139" y="161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" name="Freeform 10"/>
          <p:cNvSpPr>
            <a:spLocks noEditPoints="1"/>
          </p:cNvSpPr>
          <p:nvPr userDrawn="1"/>
        </p:nvSpPr>
        <p:spPr bwMode="auto">
          <a:xfrm>
            <a:off x="10368549" y="664607"/>
            <a:ext cx="121204" cy="126184"/>
          </a:xfrm>
          <a:custGeom>
            <a:avLst/>
            <a:gdLst/>
            <a:ahLst/>
            <a:cxnLst>
              <a:cxn ang="0">
                <a:pos x="160" y="0"/>
              </a:cxn>
              <a:cxn ang="0">
                <a:pos x="156" y="0"/>
              </a:cxn>
              <a:cxn ang="0">
                <a:pos x="0" y="156"/>
              </a:cxn>
              <a:cxn ang="0">
                <a:pos x="156" y="317"/>
              </a:cxn>
              <a:cxn ang="0">
                <a:pos x="160" y="317"/>
              </a:cxn>
              <a:cxn ang="0">
                <a:pos x="317" y="156"/>
              </a:cxn>
              <a:cxn ang="0">
                <a:pos x="160" y="0"/>
              </a:cxn>
              <a:cxn ang="0">
                <a:pos x="160" y="300"/>
              </a:cxn>
              <a:cxn ang="0">
                <a:pos x="160" y="300"/>
              </a:cxn>
              <a:cxn ang="0">
                <a:pos x="156" y="300"/>
              </a:cxn>
              <a:cxn ang="0">
                <a:pos x="72" y="148"/>
              </a:cxn>
              <a:cxn ang="0">
                <a:pos x="156" y="17"/>
              </a:cxn>
              <a:cxn ang="0">
                <a:pos x="245" y="169"/>
              </a:cxn>
              <a:cxn ang="0">
                <a:pos x="160" y="300"/>
              </a:cxn>
            </a:cxnLst>
            <a:rect l="0" t="0" r="r" b="b"/>
            <a:pathLst>
              <a:path w="317" h="317">
                <a:moveTo>
                  <a:pt x="160" y="0"/>
                </a:moveTo>
                <a:lnTo>
                  <a:pt x="156" y="0"/>
                </a:lnTo>
                <a:cubicBezTo>
                  <a:pt x="55" y="0"/>
                  <a:pt x="0" y="55"/>
                  <a:pt x="0" y="156"/>
                </a:cubicBezTo>
                <a:cubicBezTo>
                  <a:pt x="0" y="262"/>
                  <a:pt x="55" y="317"/>
                  <a:pt x="156" y="317"/>
                </a:cubicBezTo>
                <a:lnTo>
                  <a:pt x="160" y="317"/>
                </a:lnTo>
                <a:cubicBezTo>
                  <a:pt x="258" y="317"/>
                  <a:pt x="317" y="262"/>
                  <a:pt x="317" y="156"/>
                </a:cubicBezTo>
                <a:cubicBezTo>
                  <a:pt x="317" y="55"/>
                  <a:pt x="262" y="0"/>
                  <a:pt x="160" y="0"/>
                </a:cubicBezTo>
                <a:close/>
                <a:moveTo>
                  <a:pt x="160" y="300"/>
                </a:moveTo>
                <a:lnTo>
                  <a:pt x="160" y="300"/>
                </a:lnTo>
                <a:lnTo>
                  <a:pt x="156" y="300"/>
                </a:lnTo>
                <a:cubicBezTo>
                  <a:pt x="110" y="296"/>
                  <a:pt x="72" y="258"/>
                  <a:pt x="72" y="148"/>
                </a:cubicBezTo>
                <a:cubicBezTo>
                  <a:pt x="72" y="55"/>
                  <a:pt x="106" y="21"/>
                  <a:pt x="156" y="17"/>
                </a:cubicBezTo>
                <a:cubicBezTo>
                  <a:pt x="207" y="21"/>
                  <a:pt x="245" y="63"/>
                  <a:pt x="245" y="169"/>
                </a:cubicBezTo>
                <a:cubicBezTo>
                  <a:pt x="245" y="232"/>
                  <a:pt x="220" y="300"/>
                  <a:pt x="160" y="300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" name="Freeform 11"/>
          <p:cNvSpPr>
            <a:spLocks/>
          </p:cNvSpPr>
          <p:nvPr userDrawn="1"/>
        </p:nvSpPr>
        <p:spPr bwMode="auto">
          <a:xfrm>
            <a:off x="10517978" y="664607"/>
            <a:ext cx="111241" cy="126184"/>
          </a:xfrm>
          <a:custGeom>
            <a:avLst/>
            <a:gdLst/>
            <a:ahLst/>
            <a:cxnLst>
              <a:cxn ang="0">
                <a:pos x="190" y="296"/>
              </a:cxn>
              <a:cxn ang="0">
                <a:pos x="72" y="156"/>
              </a:cxn>
              <a:cxn ang="0">
                <a:pos x="173" y="21"/>
              </a:cxn>
              <a:cxn ang="0">
                <a:pos x="266" y="101"/>
              </a:cxn>
              <a:cxn ang="0">
                <a:pos x="283" y="101"/>
              </a:cxn>
              <a:cxn ang="0">
                <a:pos x="283" y="17"/>
              </a:cxn>
              <a:cxn ang="0">
                <a:pos x="262" y="17"/>
              </a:cxn>
              <a:cxn ang="0">
                <a:pos x="165" y="0"/>
              </a:cxn>
              <a:cxn ang="0">
                <a:pos x="0" y="152"/>
              </a:cxn>
              <a:cxn ang="0">
                <a:pos x="165" y="317"/>
              </a:cxn>
              <a:cxn ang="0">
                <a:pos x="292" y="287"/>
              </a:cxn>
              <a:cxn ang="0">
                <a:pos x="292" y="241"/>
              </a:cxn>
              <a:cxn ang="0">
                <a:pos x="283" y="241"/>
              </a:cxn>
              <a:cxn ang="0">
                <a:pos x="190" y="296"/>
              </a:cxn>
            </a:cxnLst>
            <a:rect l="0" t="0" r="r" b="b"/>
            <a:pathLst>
              <a:path w="292" h="317">
                <a:moveTo>
                  <a:pt x="190" y="296"/>
                </a:moveTo>
                <a:cubicBezTo>
                  <a:pt x="114" y="296"/>
                  <a:pt x="72" y="224"/>
                  <a:pt x="72" y="156"/>
                </a:cubicBezTo>
                <a:cubicBezTo>
                  <a:pt x="72" y="80"/>
                  <a:pt x="110" y="21"/>
                  <a:pt x="173" y="21"/>
                </a:cubicBezTo>
                <a:cubicBezTo>
                  <a:pt x="224" y="21"/>
                  <a:pt x="258" y="51"/>
                  <a:pt x="266" y="101"/>
                </a:cubicBezTo>
                <a:lnTo>
                  <a:pt x="283" y="101"/>
                </a:lnTo>
                <a:lnTo>
                  <a:pt x="283" y="17"/>
                </a:lnTo>
                <a:lnTo>
                  <a:pt x="262" y="17"/>
                </a:lnTo>
                <a:cubicBezTo>
                  <a:pt x="233" y="8"/>
                  <a:pt x="199" y="0"/>
                  <a:pt x="165" y="0"/>
                </a:cubicBezTo>
                <a:cubicBezTo>
                  <a:pt x="76" y="0"/>
                  <a:pt x="0" y="47"/>
                  <a:pt x="0" y="152"/>
                </a:cubicBezTo>
                <a:cubicBezTo>
                  <a:pt x="0" y="254"/>
                  <a:pt x="68" y="317"/>
                  <a:pt x="165" y="317"/>
                </a:cubicBezTo>
                <a:cubicBezTo>
                  <a:pt x="237" y="317"/>
                  <a:pt x="262" y="300"/>
                  <a:pt x="292" y="287"/>
                </a:cubicBezTo>
                <a:lnTo>
                  <a:pt x="292" y="241"/>
                </a:lnTo>
                <a:lnTo>
                  <a:pt x="283" y="241"/>
                </a:lnTo>
                <a:cubicBezTo>
                  <a:pt x="271" y="279"/>
                  <a:pt x="228" y="296"/>
                  <a:pt x="190" y="296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Freeform 12"/>
          <p:cNvSpPr>
            <a:spLocks noEditPoints="1"/>
          </p:cNvSpPr>
          <p:nvPr userDrawn="1"/>
        </p:nvSpPr>
        <p:spPr bwMode="auto">
          <a:xfrm>
            <a:off x="10654125" y="666268"/>
            <a:ext cx="96299" cy="122864"/>
          </a:xfrm>
          <a:custGeom>
            <a:avLst/>
            <a:gdLst/>
            <a:ahLst/>
            <a:cxnLst>
              <a:cxn ang="0">
                <a:pos x="174" y="148"/>
              </a:cxn>
              <a:cxn ang="0">
                <a:pos x="174" y="144"/>
              </a:cxn>
              <a:cxn ang="0">
                <a:pos x="241" y="72"/>
              </a:cxn>
              <a:cxn ang="0">
                <a:pos x="140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140" y="309"/>
              </a:cxn>
              <a:cxn ang="0">
                <a:pos x="148" y="309"/>
              </a:cxn>
              <a:cxn ang="0">
                <a:pos x="254" y="228"/>
              </a:cxn>
              <a:cxn ang="0">
                <a:pos x="174" y="148"/>
              </a:cxn>
              <a:cxn ang="0">
                <a:pos x="102" y="21"/>
              </a:cxn>
              <a:cxn ang="0">
                <a:pos x="102" y="21"/>
              </a:cxn>
              <a:cxn ang="0">
                <a:pos x="140" y="26"/>
              </a:cxn>
              <a:cxn ang="0">
                <a:pos x="174" y="81"/>
              </a:cxn>
              <a:cxn ang="0">
                <a:pos x="140" y="136"/>
              </a:cxn>
              <a:cxn ang="0">
                <a:pos x="127" y="140"/>
              </a:cxn>
              <a:cxn ang="0">
                <a:pos x="102" y="140"/>
              </a:cxn>
              <a:cxn ang="0">
                <a:pos x="102" y="21"/>
              </a:cxn>
              <a:cxn ang="0">
                <a:pos x="140" y="288"/>
              </a:cxn>
              <a:cxn ang="0">
                <a:pos x="140" y="288"/>
              </a:cxn>
              <a:cxn ang="0">
                <a:pos x="102" y="271"/>
              </a:cxn>
              <a:cxn ang="0">
                <a:pos x="102" y="157"/>
              </a:cxn>
              <a:cxn ang="0">
                <a:pos x="127" y="157"/>
              </a:cxn>
              <a:cxn ang="0">
                <a:pos x="140" y="157"/>
              </a:cxn>
              <a:cxn ang="0">
                <a:pos x="190" y="228"/>
              </a:cxn>
              <a:cxn ang="0">
                <a:pos x="140" y="288"/>
              </a:cxn>
            </a:cxnLst>
            <a:rect l="0" t="0" r="r" b="b"/>
            <a:pathLst>
              <a:path w="254" h="309">
                <a:moveTo>
                  <a:pt x="174" y="148"/>
                </a:moveTo>
                <a:lnTo>
                  <a:pt x="174" y="144"/>
                </a:lnTo>
                <a:cubicBezTo>
                  <a:pt x="212" y="136"/>
                  <a:pt x="241" y="110"/>
                  <a:pt x="241" y="72"/>
                </a:cubicBezTo>
                <a:cubicBezTo>
                  <a:pt x="241" y="21"/>
                  <a:pt x="199" y="0"/>
                  <a:pt x="140" y="0"/>
                </a:cubicBez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140" y="309"/>
                </a:lnTo>
                <a:lnTo>
                  <a:pt x="148" y="309"/>
                </a:lnTo>
                <a:cubicBezTo>
                  <a:pt x="207" y="309"/>
                  <a:pt x="254" y="279"/>
                  <a:pt x="254" y="228"/>
                </a:cubicBezTo>
                <a:cubicBezTo>
                  <a:pt x="254" y="174"/>
                  <a:pt x="224" y="152"/>
                  <a:pt x="174" y="148"/>
                </a:cubicBezTo>
                <a:close/>
                <a:moveTo>
                  <a:pt x="102" y="21"/>
                </a:moveTo>
                <a:lnTo>
                  <a:pt x="102" y="21"/>
                </a:lnTo>
                <a:cubicBezTo>
                  <a:pt x="114" y="21"/>
                  <a:pt x="127" y="21"/>
                  <a:pt x="140" y="26"/>
                </a:cubicBezTo>
                <a:cubicBezTo>
                  <a:pt x="161" y="30"/>
                  <a:pt x="174" y="47"/>
                  <a:pt x="174" y="81"/>
                </a:cubicBezTo>
                <a:cubicBezTo>
                  <a:pt x="174" y="106"/>
                  <a:pt x="165" y="131"/>
                  <a:pt x="140" y="136"/>
                </a:cubicBezTo>
                <a:cubicBezTo>
                  <a:pt x="135" y="136"/>
                  <a:pt x="131" y="140"/>
                  <a:pt x="127" y="140"/>
                </a:cubicBezTo>
                <a:lnTo>
                  <a:pt x="102" y="140"/>
                </a:lnTo>
                <a:lnTo>
                  <a:pt x="102" y="21"/>
                </a:lnTo>
                <a:close/>
                <a:moveTo>
                  <a:pt x="140" y="288"/>
                </a:moveTo>
                <a:lnTo>
                  <a:pt x="140" y="288"/>
                </a:lnTo>
                <a:cubicBezTo>
                  <a:pt x="123" y="288"/>
                  <a:pt x="110" y="279"/>
                  <a:pt x="102" y="271"/>
                </a:cubicBezTo>
                <a:lnTo>
                  <a:pt x="102" y="157"/>
                </a:lnTo>
                <a:lnTo>
                  <a:pt x="127" y="157"/>
                </a:lnTo>
                <a:lnTo>
                  <a:pt x="140" y="157"/>
                </a:lnTo>
                <a:cubicBezTo>
                  <a:pt x="174" y="165"/>
                  <a:pt x="190" y="190"/>
                  <a:pt x="190" y="228"/>
                </a:cubicBezTo>
                <a:cubicBezTo>
                  <a:pt x="190" y="262"/>
                  <a:pt x="174" y="288"/>
                  <a:pt x="140" y="288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Freeform 13"/>
          <p:cNvSpPr>
            <a:spLocks/>
          </p:cNvSpPr>
          <p:nvPr userDrawn="1"/>
        </p:nvSpPr>
        <p:spPr bwMode="auto">
          <a:xfrm>
            <a:off x="10778649" y="666268"/>
            <a:ext cx="89658" cy="122864"/>
          </a:xfrm>
          <a:custGeom>
            <a:avLst/>
            <a:gdLst/>
            <a:ahLst/>
            <a:cxnLst>
              <a:cxn ang="0">
                <a:pos x="199" y="279"/>
              </a:cxn>
              <a:cxn ang="0">
                <a:pos x="101" y="279"/>
              </a:cxn>
              <a:cxn ang="0">
                <a:pos x="101" y="157"/>
              </a:cxn>
              <a:cxn ang="0">
                <a:pos x="156" y="157"/>
              </a:cxn>
              <a:cxn ang="0">
                <a:pos x="169" y="199"/>
              </a:cxn>
              <a:cxn ang="0">
                <a:pos x="186" y="199"/>
              </a:cxn>
              <a:cxn ang="0">
                <a:pos x="182" y="144"/>
              </a:cxn>
              <a:cxn ang="0">
                <a:pos x="186" y="93"/>
              </a:cxn>
              <a:cxn ang="0">
                <a:pos x="169" y="93"/>
              </a:cxn>
              <a:cxn ang="0">
                <a:pos x="156" y="136"/>
              </a:cxn>
              <a:cxn ang="0">
                <a:pos x="101" y="136"/>
              </a:cxn>
              <a:cxn ang="0">
                <a:pos x="101" y="30"/>
              </a:cxn>
              <a:cxn ang="0">
                <a:pos x="194" y="30"/>
              </a:cxn>
              <a:cxn ang="0">
                <a:pos x="207" y="81"/>
              </a:cxn>
              <a:cxn ang="0">
                <a:pos x="224" y="81"/>
              </a:cxn>
              <a:cxn ang="0">
                <a:pos x="220" y="0"/>
              </a:cxn>
              <a:cxn ang="0">
                <a:pos x="203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224" y="309"/>
              </a:cxn>
              <a:cxn ang="0">
                <a:pos x="237" y="220"/>
              </a:cxn>
              <a:cxn ang="0">
                <a:pos x="220" y="220"/>
              </a:cxn>
              <a:cxn ang="0">
                <a:pos x="199" y="279"/>
              </a:cxn>
            </a:cxnLst>
            <a:rect l="0" t="0" r="r" b="b"/>
            <a:pathLst>
              <a:path w="237" h="309">
                <a:moveTo>
                  <a:pt x="199" y="279"/>
                </a:moveTo>
                <a:lnTo>
                  <a:pt x="101" y="279"/>
                </a:lnTo>
                <a:lnTo>
                  <a:pt x="101" y="157"/>
                </a:lnTo>
                <a:lnTo>
                  <a:pt x="156" y="157"/>
                </a:lnTo>
                <a:lnTo>
                  <a:pt x="169" y="199"/>
                </a:lnTo>
                <a:lnTo>
                  <a:pt x="186" y="199"/>
                </a:lnTo>
                <a:cubicBezTo>
                  <a:pt x="182" y="182"/>
                  <a:pt x="182" y="165"/>
                  <a:pt x="182" y="144"/>
                </a:cubicBezTo>
                <a:cubicBezTo>
                  <a:pt x="182" y="127"/>
                  <a:pt x="182" y="110"/>
                  <a:pt x="186" y="93"/>
                </a:cubicBezTo>
                <a:lnTo>
                  <a:pt x="169" y="93"/>
                </a:lnTo>
                <a:lnTo>
                  <a:pt x="156" y="136"/>
                </a:lnTo>
                <a:lnTo>
                  <a:pt x="101" y="136"/>
                </a:lnTo>
                <a:lnTo>
                  <a:pt x="101" y="30"/>
                </a:lnTo>
                <a:lnTo>
                  <a:pt x="194" y="30"/>
                </a:lnTo>
                <a:lnTo>
                  <a:pt x="207" y="81"/>
                </a:lnTo>
                <a:lnTo>
                  <a:pt x="224" y="81"/>
                </a:lnTo>
                <a:lnTo>
                  <a:pt x="220" y="0"/>
                </a:lnTo>
                <a:lnTo>
                  <a:pt x="203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224" y="309"/>
                </a:lnTo>
                <a:lnTo>
                  <a:pt x="237" y="220"/>
                </a:lnTo>
                <a:lnTo>
                  <a:pt x="220" y="220"/>
                </a:lnTo>
                <a:lnTo>
                  <a:pt x="199" y="279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2" name="Freeform 14"/>
          <p:cNvSpPr>
            <a:spLocks/>
          </p:cNvSpPr>
          <p:nvPr userDrawn="1"/>
        </p:nvSpPr>
        <p:spPr bwMode="auto">
          <a:xfrm>
            <a:off x="10893211" y="666268"/>
            <a:ext cx="189277" cy="157731"/>
          </a:xfrm>
          <a:custGeom>
            <a:avLst/>
            <a:gdLst/>
            <a:ahLst/>
            <a:cxnLst>
              <a:cxn ang="0">
                <a:pos x="444" y="26"/>
              </a:cxn>
              <a:cxn ang="0">
                <a:pos x="490" y="17"/>
              </a:cxn>
              <a:cxn ang="0">
                <a:pos x="490" y="0"/>
              </a:cxn>
              <a:cxn ang="0">
                <a:pos x="338" y="0"/>
              </a:cxn>
              <a:cxn ang="0">
                <a:pos x="338" y="17"/>
              </a:cxn>
              <a:cxn ang="0">
                <a:pos x="380" y="26"/>
              </a:cxn>
              <a:cxn ang="0">
                <a:pos x="380" y="283"/>
              </a:cxn>
              <a:cxn ang="0">
                <a:pos x="275" y="283"/>
              </a:cxn>
              <a:cxn ang="0">
                <a:pos x="275" y="26"/>
              </a:cxn>
              <a:cxn ang="0">
                <a:pos x="317" y="17"/>
              </a:cxn>
              <a:cxn ang="0">
                <a:pos x="317" y="0"/>
              </a:cxn>
              <a:cxn ang="0">
                <a:pos x="169" y="0"/>
              </a:cxn>
              <a:cxn ang="0">
                <a:pos x="169" y="17"/>
              </a:cxn>
              <a:cxn ang="0">
                <a:pos x="211" y="26"/>
              </a:cxn>
              <a:cxn ang="0">
                <a:pos x="211" y="283"/>
              </a:cxn>
              <a:cxn ang="0">
                <a:pos x="106" y="283"/>
              </a:cxn>
              <a:cxn ang="0">
                <a:pos x="106" y="26"/>
              </a:cxn>
              <a:cxn ang="0">
                <a:pos x="148" y="17"/>
              </a:cxn>
              <a:cxn ang="0">
                <a:pos x="148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457" y="309"/>
              </a:cxn>
              <a:cxn ang="0">
                <a:pos x="457" y="398"/>
              </a:cxn>
              <a:cxn ang="0">
                <a:pos x="474" y="398"/>
              </a:cxn>
              <a:cxn ang="0">
                <a:pos x="495" y="283"/>
              </a:cxn>
              <a:cxn ang="0">
                <a:pos x="444" y="283"/>
              </a:cxn>
              <a:cxn ang="0">
                <a:pos x="444" y="26"/>
              </a:cxn>
            </a:cxnLst>
            <a:rect l="0" t="0" r="r" b="b"/>
            <a:pathLst>
              <a:path w="495" h="398">
                <a:moveTo>
                  <a:pt x="444" y="26"/>
                </a:moveTo>
                <a:lnTo>
                  <a:pt x="490" y="17"/>
                </a:lnTo>
                <a:lnTo>
                  <a:pt x="490" y="0"/>
                </a:lnTo>
                <a:lnTo>
                  <a:pt x="338" y="0"/>
                </a:lnTo>
                <a:lnTo>
                  <a:pt x="338" y="17"/>
                </a:lnTo>
                <a:lnTo>
                  <a:pt x="380" y="26"/>
                </a:lnTo>
                <a:lnTo>
                  <a:pt x="380" y="283"/>
                </a:lnTo>
                <a:lnTo>
                  <a:pt x="275" y="283"/>
                </a:lnTo>
                <a:lnTo>
                  <a:pt x="275" y="26"/>
                </a:lnTo>
                <a:lnTo>
                  <a:pt x="317" y="17"/>
                </a:lnTo>
                <a:lnTo>
                  <a:pt x="317" y="0"/>
                </a:lnTo>
                <a:lnTo>
                  <a:pt x="169" y="0"/>
                </a:lnTo>
                <a:lnTo>
                  <a:pt x="169" y="17"/>
                </a:lnTo>
                <a:lnTo>
                  <a:pt x="211" y="26"/>
                </a:lnTo>
                <a:lnTo>
                  <a:pt x="211" y="283"/>
                </a:lnTo>
                <a:lnTo>
                  <a:pt x="106" y="283"/>
                </a:lnTo>
                <a:lnTo>
                  <a:pt x="106" y="26"/>
                </a:lnTo>
                <a:lnTo>
                  <a:pt x="148" y="17"/>
                </a:lnTo>
                <a:lnTo>
                  <a:pt x="148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457" y="309"/>
                </a:lnTo>
                <a:lnTo>
                  <a:pt x="457" y="398"/>
                </a:lnTo>
                <a:lnTo>
                  <a:pt x="474" y="398"/>
                </a:lnTo>
                <a:lnTo>
                  <a:pt x="495" y="283"/>
                </a:lnTo>
                <a:lnTo>
                  <a:pt x="444" y="283"/>
                </a:lnTo>
                <a:lnTo>
                  <a:pt x="444" y="26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" name="Freeform 15"/>
          <p:cNvSpPr>
            <a:spLocks/>
          </p:cNvSpPr>
          <p:nvPr userDrawn="1"/>
        </p:nvSpPr>
        <p:spPr bwMode="auto">
          <a:xfrm>
            <a:off x="11100751" y="666268"/>
            <a:ext cx="91317" cy="122864"/>
          </a:xfrm>
          <a:custGeom>
            <a:avLst/>
            <a:gdLst/>
            <a:ahLst/>
            <a:cxnLst>
              <a:cxn ang="0">
                <a:pos x="237" y="220"/>
              </a:cxn>
              <a:cxn ang="0">
                <a:pos x="224" y="220"/>
              </a:cxn>
              <a:cxn ang="0">
                <a:pos x="199" y="279"/>
              </a:cxn>
              <a:cxn ang="0">
                <a:pos x="102" y="279"/>
              </a:cxn>
              <a:cxn ang="0">
                <a:pos x="102" y="157"/>
              </a:cxn>
              <a:cxn ang="0">
                <a:pos x="157" y="157"/>
              </a:cxn>
              <a:cxn ang="0">
                <a:pos x="170" y="199"/>
              </a:cxn>
              <a:cxn ang="0">
                <a:pos x="186" y="199"/>
              </a:cxn>
              <a:cxn ang="0">
                <a:pos x="182" y="144"/>
              </a:cxn>
              <a:cxn ang="0">
                <a:pos x="186" y="93"/>
              </a:cxn>
              <a:cxn ang="0">
                <a:pos x="174" y="93"/>
              </a:cxn>
              <a:cxn ang="0">
                <a:pos x="157" y="136"/>
              </a:cxn>
              <a:cxn ang="0">
                <a:pos x="102" y="136"/>
              </a:cxn>
              <a:cxn ang="0">
                <a:pos x="102" y="30"/>
              </a:cxn>
              <a:cxn ang="0">
                <a:pos x="195" y="30"/>
              </a:cxn>
              <a:cxn ang="0">
                <a:pos x="208" y="81"/>
              </a:cxn>
              <a:cxn ang="0">
                <a:pos x="224" y="81"/>
              </a:cxn>
              <a:cxn ang="0">
                <a:pos x="220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229" y="309"/>
              </a:cxn>
              <a:cxn ang="0">
                <a:pos x="237" y="220"/>
              </a:cxn>
            </a:cxnLst>
            <a:rect l="0" t="0" r="r" b="b"/>
            <a:pathLst>
              <a:path w="237" h="309">
                <a:moveTo>
                  <a:pt x="237" y="220"/>
                </a:moveTo>
                <a:lnTo>
                  <a:pt x="224" y="220"/>
                </a:lnTo>
                <a:lnTo>
                  <a:pt x="199" y="279"/>
                </a:lnTo>
                <a:lnTo>
                  <a:pt x="102" y="279"/>
                </a:lnTo>
                <a:lnTo>
                  <a:pt x="102" y="157"/>
                </a:lnTo>
                <a:lnTo>
                  <a:pt x="157" y="157"/>
                </a:lnTo>
                <a:lnTo>
                  <a:pt x="170" y="199"/>
                </a:lnTo>
                <a:lnTo>
                  <a:pt x="186" y="199"/>
                </a:lnTo>
                <a:cubicBezTo>
                  <a:pt x="186" y="182"/>
                  <a:pt x="182" y="165"/>
                  <a:pt x="182" y="144"/>
                </a:cubicBezTo>
                <a:cubicBezTo>
                  <a:pt x="182" y="127"/>
                  <a:pt x="186" y="110"/>
                  <a:pt x="186" y="93"/>
                </a:cubicBezTo>
                <a:lnTo>
                  <a:pt x="174" y="93"/>
                </a:lnTo>
                <a:lnTo>
                  <a:pt x="157" y="136"/>
                </a:lnTo>
                <a:lnTo>
                  <a:pt x="102" y="136"/>
                </a:lnTo>
                <a:lnTo>
                  <a:pt x="102" y="30"/>
                </a:lnTo>
                <a:lnTo>
                  <a:pt x="195" y="30"/>
                </a:lnTo>
                <a:lnTo>
                  <a:pt x="208" y="81"/>
                </a:lnTo>
                <a:lnTo>
                  <a:pt x="224" y="81"/>
                </a:lnTo>
                <a:lnTo>
                  <a:pt x="220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229" y="309"/>
                </a:lnTo>
                <a:lnTo>
                  <a:pt x="237" y="22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4" name="Freeform 16"/>
          <p:cNvSpPr>
            <a:spLocks/>
          </p:cNvSpPr>
          <p:nvPr userDrawn="1"/>
        </p:nvSpPr>
        <p:spPr bwMode="auto">
          <a:xfrm>
            <a:off x="11216974" y="666268"/>
            <a:ext cx="129505" cy="122864"/>
          </a:xfrm>
          <a:custGeom>
            <a:avLst/>
            <a:gdLst/>
            <a:ahLst/>
            <a:cxnLst>
              <a:cxn ang="0">
                <a:pos x="190" y="17"/>
              </a:cxn>
              <a:cxn ang="0">
                <a:pos x="236" y="26"/>
              </a:cxn>
              <a:cxn ang="0">
                <a:pos x="236" y="136"/>
              </a:cxn>
              <a:cxn ang="0">
                <a:pos x="105" y="136"/>
              </a:cxn>
              <a:cxn ang="0">
                <a:pos x="105" y="26"/>
              </a:cxn>
              <a:cxn ang="0">
                <a:pos x="152" y="17"/>
              </a:cxn>
              <a:cxn ang="0">
                <a:pos x="152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52" y="309"/>
              </a:cxn>
              <a:cxn ang="0">
                <a:pos x="152" y="292"/>
              </a:cxn>
              <a:cxn ang="0">
                <a:pos x="105" y="283"/>
              </a:cxn>
              <a:cxn ang="0">
                <a:pos x="105" y="161"/>
              </a:cxn>
              <a:cxn ang="0">
                <a:pos x="236" y="161"/>
              </a:cxn>
              <a:cxn ang="0">
                <a:pos x="236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190" y="0"/>
              </a:cxn>
              <a:cxn ang="0">
                <a:pos x="190" y="17"/>
              </a:cxn>
            </a:cxnLst>
            <a:rect l="0" t="0" r="r" b="b"/>
            <a:pathLst>
              <a:path w="342" h="309">
                <a:moveTo>
                  <a:pt x="190" y="17"/>
                </a:moveTo>
                <a:lnTo>
                  <a:pt x="236" y="26"/>
                </a:lnTo>
                <a:lnTo>
                  <a:pt x="236" y="136"/>
                </a:lnTo>
                <a:lnTo>
                  <a:pt x="105" y="136"/>
                </a:lnTo>
                <a:lnTo>
                  <a:pt x="105" y="26"/>
                </a:lnTo>
                <a:lnTo>
                  <a:pt x="152" y="17"/>
                </a:lnTo>
                <a:lnTo>
                  <a:pt x="152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52" y="309"/>
                </a:lnTo>
                <a:lnTo>
                  <a:pt x="152" y="292"/>
                </a:lnTo>
                <a:lnTo>
                  <a:pt x="105" y="283"/>
                </a:lnTo>
                <a:lnTo>
                  <a:pt x="105" y="161"/>
                </a:lnTo>
                <a:lnTo>
                  <a:pt x="236" y="161"/>
                </a:lnTo>
                <a:lnTo>
                  <a:pt x="236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190" y="0"/>
                </a:lnTo>
                <a:lnTo>
                  <a:pt x="19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5" name="Freeform 17"/>
          <p:cNvSpPr>
            <a:spLocks/>
          </p:cNvSpPr>
          <p:nvPr userDrawn="1"/>
        </p:nvSpPr>
        <p:spPr bwMode="auto">
          <a:xfrm>
            <a:off x="11368063" y="666268"/>
            <a:ext cx="131166" cy="122864"/>
          </a:xfrm>
          <a:custGeom>
            <a:avLst/>
            <a:gdLst/>
            <a:ahLst/>
            <a:cxnLst>
              <a:cxn ang="0">
                <a:pos x="190" y="17"/>
              </a:cxn>
              <a:cxn ang="0">
                <a:pos x="237" y="26"/>
              </a:cxn>
              <a:cxn ang="0">
                <a:pos x="237" y="30"/>
              </a:cxn>
              <a:cxn ang="0">
                <a:pos x="106" y="237"/>
              </a:cxn>
              <a:cxn ang="0">
                <a:pos x="106" y="26"/>
              </a:cxn>
              <a:cxn ang="0">
                <a:pos x="152" y="17"/>
              </a:cxn>
              <a:cxn ang="0">
                <a:pos x="152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52" y="309"/>
              </a:cxn>
              <a:cxn ang="0">
                <a:pos x="152" y="292"/>
              </a:cxn>
              <a:cxn ang="0">
                <a:pos x="106" y="283"/>
              </a:cxn>
              <a:cxn ang="0">
                <a:pos x="106" y="279"/>
              </a:cxn>
              <a:cxn ang="0">
                <a:pos x="237" y="72"/>
              </a:cxn>
              <a:cxn ang="0">
                <a:pos x="237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190" y="0"/>
              </a:cxn>
              <a:cxn ang="0">
                <a:pos x="190" y="17"/>
              </a:cxn>
            </a:cxnLst>
            <a:rect l="0" t="0" r="r" b="b"/>
            <a:pathLst>
              <a:path w="342" h="309">
                <a:moveTo>
                  <a:pt x="190" y="17"/>
                </a:moveTo>
                <a:lnTo>
                  <a:pt x="237" y="26"/>
                </a:lnTo>
                <a:lnTo>
                  <a:pt x="237" y="30"/>
                </a:lnTo>
                <a:lnTo>
                  <a:pt x="106" y="237"/>
                </a:lnTo>
                <a:lnTo>
                  <a:pt x="106" y="26"/>
                </a:lnTo>
                <a:lnTo>
                  <a:pt x="152" y="17"/>
                </a:lnTo>
                <a:lnTo>
                  <a:pt x="152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52" y="309"/>
                </a:lnTo>
                <a:lnTo>
                  <a:pt x="152" y="292"/>
                </a:lnTo>
                <a:lnTo>
                  <a:pt x="106" y="283"/>
                </a:lnTo>
                <a:lnTo>
                  <a:pt x="106" y="279"/>
                </a:lnTo>
                <a:lnTo>
                  <a:pt x="237" y="72"/>
                </a:lnTo>
                <a:lnTo>
                  <a:pt x="237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190" y="0"/>
                </a:lnTo>
                <a:lnTo>
                  <a:pt x="19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11519152" y="666268"/>
            <a:ext cx="92978" cy="122864"/>
          </a:xfrm>
          <a:custGeom>
            <a:avLst/>
            <a:gdLst/>
            <a:ahLst/>
            <a:cxnLst>
              <a:cxn ang="0">
                <a:pos x="225" y="220"/>
              </a:cxn>
              <a:cxn ang="0">
                <a:pos x="199" y="279"/>
              </a:cxn>
              <a:cxn ang="0">
                <a:pos x="106" y="279"/>
              </a:cxn>
              <a:cxn ang="0">
                <a:pos x="106" y="157"/>
              </a:cxn>
              <a:cxn ang="0">
                <a:pos x="161" y="157"/>
              </a:cxn>
              <a:cxn ang="0">
                <a:pos x="174" y="199"/>
              </a:cxn>
              <a:cxn ang="0">
                <a:pos x="187" y="199"/>
              </a:cxn>
              <a:cxn ang="0">
                <a:pos x="187" y="144"/>
              </a:cxn>
              <a:cxn ang="0">
                <a:pos x="187" y="93"/>
              </a:cxn>
              <a:cxn ang="0">
                <a:pos x="174" y="93"/>
              </a:cxn>
              <a:cxn ang="0">
                <a:pos x="161" y="136"/>
              </a:cxn>
              <a:cxn ang="0">
                <a:pos x="106" y="136"/>
              </a:cxn>
              <a:cxn ang="0">
                <a:pos x="106" y="30"/>
              </a:cxn>
              <a:cxn ang="0">
                <a:pos x="195" y="30"/>
              </a:cxn>
              <a:cxn ang="0">
                <a:pos x="212" y="81"/>
              </a:cxn>
              <a:cxn ang="0">
                <a:pos x="225" y="81"/>
              </a:cxn>
              <a:cxn ang="0">
                <a:pos x="225" y="0"/>
              </a:cxn>
              <a:cxn ang="0">
                <a:pos x="0" y="0"/>
              </a:cxn>
              <a:cxn ang="0">
                <a:pos x="0" y="17"/>
              </a:cxn>
              <a:cxn ang="0">
                <a:pos x="43" y="26"/>
              </a:cxn>
              <a:cxn ang="0">
                <a:pos x="43" y="283"/>
              </a:cxn>
              <a:cxn ang="0">
                <a:pos x="0" y="292"/>
              </a:cxn>
              <a:cxn ang="0">
                <a:pos x="0" y="309"/>
              </a:cxn>
              <a:cxn ang="0">
                <a:pos x="229" y="309"/>
              </a:cxn>
              <a:cxn ang="0">
                <a:pos x="241" y="220"/>
              </a:cxn>
              <a:cxn ang="0">
                <a:pos x="225" y="220"/>
              </a:cxn>
            </a:cxnLst>
            <a:rect l="0" t="0" r="r" b="b"/>
            <a:pathLst>
              <a:path w="241" h="309">
                <a:moveTo>
                  <a:pt x="225" y="220"/>
                </a:moveTo>
                <a:lnTo>
                  <a:pt x="199" y="279"/>
                </a:lnTo>
                <a:lnTo>
                  <a:pt x="106" y="279"/>
                </a:lnTo>
                <a:lnTo>
                  <a:pt x="106" y="157"/>
                </a:lnTo>
                <a:lnTo>
                  <a:pt x="161" y="157"/>
                </a:lnTo>
                <a:lnTo>
                  <a:pt x="174" y="199"/>
                </a:lnTo>
                <a:lnTo>
                  <a:pt x="187" y="199"/>
                </a:lnTo>
                <a:lnTo>
                  <a:pt x="187" y="144"/>
                </a:lnTo>
                <a:lnTo>
                  <a:pt x="187" y="93"/>
                </a:lnTo>
                <a:lnTo>
                  <a:pt x="174" y="93"/>
                </a:lnTo>
                <a:lnTo>
                  <a:pt x="161" y="136"/>
                </a:lnTo>
                <a:lnTo>
                  <a:pt x="106" y="136"/>
                </a:lnTo>
                <a:lnTo>
                  <a:pt x="106" y="30"/>
                </a:lnTo>
                <a:lnTo>
                  <a:pt x="195" y="30"/>
                </a:lnTo>
                <a:lnTo>
                  <a:pt x="212" y="81"/>
                </a:lnTo>
                <a:lnTo>
                  <a:pt x="225" y="81"/>
                </a:lnTo>
                <a:lnTo>
                  <a:pt x="225" y="0"/>
                </a:lnTo>
                <a:lnTo>
                  <a:pt x="0" y="0"/>
                </a:lnTo>
                <a:lnTo>
                  <a:pt x="0" y="17"/>
                </a:lnTo>
                <a:lnTo>
                  <a:pt x="43" y="26"/>
                </a:lnTo>
                <a:lnTo>
                  <a:pt x="43" y="283"/>
                </a:lnTo>
                <a:lnTo>
                  <a:pt x="0" y="292"/>
                </a:lnTo>
                <a:lnTo>
                  <a:pt x="0" y="309"/>
                </a:lnTo>
                <a:lnTo>
                  <a:pt x="229" y="309"/>
                </a:lnTo>
                <a:lnTo>
                  <a:pt x="241" y="220"/>
                </a:lnTo>
                <a:lnTo>
                  <a:pt x="225" y="22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7" name="Freeform 19"/>
          <p:cNvSpPr>
            <a:spLocks noEditPoints="1"/>
          </p:cNvSpPr>
          <p:nvPr userDrawn="1"/>
        </p:nvSpPr>
        <p:spPr bwMode="auto">
          <a:xfrm>
            <a:off x="10735481" y="300997"/>
            <a:ext cx="240746" cy="303839"/>
          </a:xfrm>
          <a:custGeom>
            <a:avLst/>
            <a:gdLst/>
            <a:ahLst/>
            <a:cxnLst>
              <a:cxn ang="0">
                <a:pos x="317" y="774"/>
              </a:cxn>
              <a:cxn ang="0">
                <a:pos x="587" y="668"/>
              </a:cxn>
              <a:cxn ang="0">
                <a:pos x="630" y="85"/>
              </a:cxn>
              <a:cxn ang="0">
                <a:pos x="317" y="0"/>
              </a:cxn>
              <a:cxn ang="0">
                <a:pos x="160" y="42"/>
              </a:cxn>
              <a:cxn ang="0">
                <a:pos x="0" y="85"/>
              </a:cxn>
              <a:cxn ang="0">
                <a:pos x="42" y="668"/>
              </a:cxn>
              <a:cxn ang="0">
                <a:pos x="160" y="715"/>
              </a:cxn>
              <a:cxn ang="0">
                <a:pos x="317" y="774"/>
              </a:cxn>
              <a:cxn ang="0">
                <a:pos x="160" y="76"/>
              </a:cxn>
              <a:cxn ang="0">
                <a:pos x="160" y="76"/>
              </a:cxn>
              <a:cxn ang="0">
                <a:pos x="224" y="59"/>
              </a:cxn>
              <a:cxn ang="0">
                <a:pos x="160" y="161"/>
              </a:cxn>
              <a:cxn ang="0">
                <a:pos x="105" y="258"/>
              </a:cxn>
              <a:cxn ang="0">
                <a:pos x="105" y="186"/>
              </a:cxn>
              <a:cxn ang="0">
                <a:pos x="101" y="93"/>
              </a:cxn>
              <a:cxn ang="0">
                <a:pos x="160" y="76"/>
              </a:cxn>
              <a:cxn ang="0">
                <a:pos x="76" y="643"/>
              </a:cxn>
              <a:cxn ang="0">
                <a:pos x="76" y="643"/>
              </a:cxn>
              <a:cxn ang="0">
                <a:pos x="55" y="385"/>
              </a:cxn>
              <a:cxn ang="0">
                <a:pos x="114" y="389"/>
              </a:cxn>
              <a:cxn ang="0">
                <a:pos x="160" y="313"/>
              </a:cxn>
              <a:cxn ang="0">
                <a:pos x="228" y="203"/>
              </a:cxn>
              <a:cxn ang="0">
                <a:pos x="224" y="275"/>
              </a:cxn>
              <a:cxn ang="0">
                <a:pos x="228" y="397"/>
              </a:cxn>
              <a:cxn ang="0">
                <a:pos x="317" y="402"/>
              </a:cxn>
              <a:cxn ang="0">
                <a:pos x="317" y="34"/>
              </a:cxn>
              <a:cxn ang="0">
                <a:pos x="596" y="110"/>
              </a:cxn>
              <a:cxn ang="0">
                <a:pos x="575" y="385"/>
              </a:cxn>
              <a:cxn ang="0">
                <a:pos x="494" y="389"/>
              </a:cxn>
              <a:cxn ang="0">
                <a:pos x="507" y="156"/>
              </a:cxn>
              <a:cxn ang="0">
                <a:pos x="410" y="140"/>
              </a:cxn>
              <a:cxn ang="0">
                <a:pos x="406" y="397"/>
              </a:cxn>
              <a:cxn ang="0">
                <a:pos x="317" y="402"/>
              </a:cxn>
              <a:cxn ang="0">
                <a:pos x="317" y="736"/>
              </a:cxn>
              <a:cxn ang="0">
                <a:pos x="160" y="676"/>
              </a:cxn>
              <a:cxn ang="0">
                <a:pos x="76" y="643"/>
              </a:cxn>
            </a:cxnLst>
            <a:rect l="0" t="0" r="r" b="b"/>
            <a:pathLst>
              <a:path w="630" h="774">
                <a:moveTo>
                  <a:pt x="317" y="774"/>
                </a:moveTo>
                <a:lnTo>
                  <a:pt x="587" y="668"/>
                </a:lnTo>
                <a:lnTo>
                  <a:pt x="630" y="85"/>
                </a:lnTo>
                <a:lnTo>
                  <a:pt x="317" y="0"/>
                </a:lnTo>
                <a:lnTo>
                  <a:pt x="160" y="42"/>
                </a:lnTo>
                <a:lnTo>
                  <a:pt x="0" y="85"/>
                </a:lnTo>
                <a:lnTo>
                  <a:pt x="42" y="668"/>
                </a:lnTo>
                <a:lnTo>
                  <a:pt x="160" y="715"/>
                </a:lnTo>
                <a:lnTo>
                  <a:pt x="317" y="774"/>
                </a:lnTo>
                <a:close/>
                <a:moveTo>
                  <a:pt x="160" y="76"/>
                </a:moveTo>
                <a:lnTo>
                  <a:pt x="160" y="76"/>
                </a:lnTo>
                <a:lnTo>
                  <a:pt x="224" y="59"/>
                </a:lnTo>
                <a:lnTo>
                  <a:pt x="160" y="161"/>
                </a:lnTo>
                <a:lnTo>
                  <a:pt x="105" y="258"/>
                </a:lnTo>
                <a:lnTo>
                  <a:pt x="105" y="186"/>
                </a:lnTo>
                <a:lnTo>
                  <a:pt x="101" y="93"/>
                </a:lnTo>
                <a:lnTo>
                  <a:pt x="160" y="76"/>
                </a:lnTo>
                <a:close/>
                <a:moveTo>
                  <a:pt x="76" y="643"/>
                </a:moveTo>
                <a:lnTo>
                  <a:pt x="76" y="643"/>
                </a:lnTo>
                <a:lnTo>
                  <a:pt x="55" y="385"/>
                </a:lnTo>
                <a:lnTo>
                  <a:pt x="114" y="389"/>
                </a:lnTo>
                <a:lnTo>
                  <a:pt x="160" y="313"/>
                </a:lnTo>
                <a:lnTo>
                  <a:pt x="228" y="203"/>
                </a:lnTo>
                <a:lnTo>
                  <a:pt x="224" y="275"/>
                </a:lnTo>
                <a:lnTo>
                  <a:pt x="228" y="397"/>
                </a:lnTo>
                <a:lnTo>
                  <a:pt x="317" y="402"/>
                </a:lnTo>
                <a:lnTo>
                  <a:pt x="317" y="34"/>
                </a:lnTo>
                <a:lnTo>
                  <a:pt x="596" y="110"/>
                </a:lnTo>
                <a:lnTo>
                  <a:pt x="575" y="385"/>
                </a:lnTo>
                <a:lnTo>
                  <a:pt x="494" y="389"/>
                </a:lnTo>
                <a:lnTo>
                  <a:pt x="507" y="156"/>
                </a:lnTo>
                <a:lnTo>
                  <a:pt x="410" y="140"/>
                </a:lnTo>
                <a:lnTo>
                  <a:pt x="406" y="397"/>
                </a:lnTo>
                <a:lnTo>
                  <a:pt x="317" y="402"/>
                </a:lnTo>
                <a:lnTo>
                  <a:pt x="317" y="736"/>
                </a:lnTo>
                <a:lnTo>
                  <a:pt x="160" y="676"/>
                </a:lnTo>
                <a:lnTo>
                  <a:pt x="76" y="643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28" name="Группа 27"/>
          <p:cNvGrpSpPr/>
          <p:nvPr userDrawn="1"/>
        </p:nvGrpSpPr>
        <p:grpSpPr>
          <a:xfrm>
            <a:off x="0" y="548203"/>
            <a:ext cx="9888209" cy="33206"/>
            <a:chOff x="0" y="548203"/>
            <a:chExt cx="9888209" cy="33206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5361108" y="548203"/>
              <a:ext cx="4527101" cy="33206"/>
              <a:chOff x="5361108" y="546724"/>
              <a:chExt cx="4527101" cy="33206"/>
            </a:xfrm>
          </p:grpSpPr>
          <p:grpSp>
            <p:nvGrpSpPr>
              <p:cNvPr id="60" name="Группа 59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68" name="Группа 67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7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69" name="Группа 68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70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1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61" name="Группа 60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62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63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30" name="Группа 29"/>
            <p:cNvGrpSpPr/>
            <p:nvPr/>
          </p:nvGrpSpPr>
          <p:grpSpPr>
            <a:xfrm>
              <a:off x="1048040" y="548203"/>
              <a:ext cx="4527101" cy="33206"/>
              <a:chOff x="5361108" y="546724"/>
              <a:chExt cx="4527101" cy="33206"/>
            </a:xfrm>
          </p:grpSpPr>
          <p:grpSp>
            <p:nvGrpSpPr>
              <p:cNvPr id="46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54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55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47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48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49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0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1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31" name="Группа 30"/>
            <p:cNvGrpSpPr/>
            <p:nvPr/>
          </p:nvGrpSpPr>
          <p:grpSpPr>
            <a:xfrm>
              <a:off x="0" y="548203"/>
              <a:ext cx="4527101" cy="33206"/>
              <a:chOff x="5361108" y="546724"/>
              <a:chExt cx="4527101" cy="33206"/>
            </a:xfrm>
          </p:grpSpPr>
          <p:grpSp>
            <p:nvGrpSpPr>
              <p:cNvPr id="32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40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41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33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34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35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3514816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 flipH="1">
            <a:off x="2639616" y="96045"/>
            <a:ext cx="9552384" cy="817646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pic>
        <p:nvPicPr>
          <p:cNvPr id="3" name="Рисунок 2" descr="line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 rot="10800000">
            <a:off x="-3" y="6790649"/>
            <a:ext cx="12192001" cy="67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266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453"/>
          <p:cNvSpPr/>
          <p:nvPr userDrawn="1"/>
        </p:nvSpPr>
        <p:spPr>
          <a:xfrm>
            <a:off x="3" y="1"/>
            <a:ext cx="12182951" cy="980537"/>
          </a:xfrm>
          <a:prstGeom prst="rect">
            <a:avLst/>
          </a:prstGeom>
          <a:solidFill>
            <a:srgbClr val="1682C6"/>
          </a:solidFill>
          <a:ln w="38100">
            <a:solidFill>
              <a:srgbClr val="FFFFFF"/>
            </a:solidFill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</p:spPr>
        <p:txBody>
          <a:bodyPr lIns="43042" tIns="43042" rIns="43042" bIns="43042" anchor="ctr"/>
          <a:lstStyle/>
          <a:p>
            <a:pPr defTabSz="856845" eaLnBrk="1" hangingPunct="1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 sz="1500">
              <a:solidFill>
                <a:srgbClr val="FFFFFF"/>
              </a:solidFill>
              <a:latin typeface="+mn-lt"/>
              <a:cs typeface="+mn-cs"/>
              <a:sym typeface="Calibri"/>
            </a:endParaRPr>
          </a:p>
        </p:txBody>
      </p:sp>
      <p:sp>
        <p:nvSpPr>
          <p:cNvPr id="4" name="Shape 455"/>
          <p:cNvSpPr txBox="1">
            <a:spLocks/>
          </p:cNvSpPr>
          <p:nvPr userDrawn="1"/>
        </p:nvSpPr>
        <p:spPr bwMode="auto">
          <a:xfrm>
            <a:off x="224438" y="33120"/>
            <a:ext cx="11743125" cy="914303"/>
          </a:xfrm>
          <a:prstGeom prst="rect">
            <a:avLst/>
          </a:prstGeom>
          <a:noFill/>
          <a:ln>
            <a:noFill/>
          </a:ln>
          <a:extLst/>
        </p:spPr>
        <p:txBody>
          <a:bodyPr lIns="86088" tIns="43045" rIns="86088" bIns="43045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700">
                <a:solidFill>
                  <a:schemeClr val="tx1"/>
                </a:solidFill>
                <a:latin typeface="Calibri" pitchFamily="34" charset="0"/>
              </a:defRPr>
            </a:lvl1pPr>
            <a:lvl2pPr marL="842963" indent="-323850" eaLnBrk="0" hangingPunct="0">
              <a:spcBef>
                <a:spcPct val="20000"/>
              </a:spcBef>
              <a:buFont typeface="Arial" pitchFamily="34" charset="0"/>
              <a:buChar char="–"/>
              <a:defRPr sz="3200">
                <a:solidFill>
                  <a:schemeClr val="tx1"/>
                </a:solidFill>
                <a:latin typeface="Calibri" pitchFamily="34" charset="0"/>
              </a:defRPr>
            </a:lvl2pPr>
            <a:lvl3pPr marL="1296988" indent="-258763" eaLnBrk="0" hangingPunct="0">
              <a:spcBef>
                <a:spcPct val="20000"/>
              </a:spcBef>
              <a:buFont typeface="Arial" pitchFamily="34" charset="0"/>
              <a:buChar char="•"/>
              <a:defRPr sz="2700">
                <a:solidFill>
                  <a:schemeClr val="tx1"/>
                </a:solidFill>
                <a:latin typeface="Calibri" pitchFamily="34" charset="0"/>
              </a:defRPr>
            </a:lvl3pPr>
            <a:lvl4pPr marL="1816100" indent="-258763" eaLnBrk="0" hangingPunct="0">
              <a:spcBef>
                <a:spcPct val="20000"/>
              </a:spcBef>
              <a:buFont typeface="Arial" pitchFamily="34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336800" indent="-258763" eaLnBrk="0" hangingPunct="0">
              <a:spcBef>
                <a:spcPct val="20000"/>
              </a:spcBef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7940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32512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7084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4165600" indent="-2587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754650" eaLnBrk="1" hangingPunct="1">
              <a:spcBef>
                <a:spcPct val="0"/>
              </a:spcBef>
              <a:buFontTx/>
              <a:buNone/>
              <a:defRPr/>
            </a:pPr>
            <a:endParaRPr lang="ru-RU" altLang="ru-RU" sz="2400" dirty="0" smtClean="0">
              <a:solidFill>
                <a:srgbClr val="FFFFFF"/>
              </a:solidFill>
              <a:latin typeface="Impact" pitchFamily="34" charset="0"/>
              <a:ea typeface="Helvetica Neue Black Condensed"/>
              <a:cs typeface="Helvetica Neue Black Condensed"/>
              <a:sym typeface="Helvetica Neue Black Condensed"/>
            </a:endParaRPr>
          </a:p>
        </p:txBody>
      </p:sp>
      <p:pic>
        <p:nvPicPr>
          <p:cNvPr id="5" name="image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6302668"/>
            <a:ext cx="12191999" cy="45717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108620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3501905"/>
            <a:ext cx="12192000" cy="2701187"/>
          </a:xfrm>
          <a:prstGeom prst="rect">
            <a:avLst/>
          </a:prstGeom>
          <a:solidFill>
            <a:srgbClr val="EDF1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51026" y="96046"/>
            <a:ext cx="9002774" cy="817646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1712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 descr="000356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" y="0"/>
            <a:ext cx="12192003" cy="6858000"/>
          </a:xfrm>
          <a:prstGeom prst="rect">
            <a:avLst/>
          </a:prstGeom>
        </p:spPr>
      </p:pic>
      <p:pic>
        <p:nvPicPr>
          <p:cNvPr id="12" name="Рисунок 11" descr="line.jpg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 rot="10800000">
            <a:off x="-3" y="6790649"/>
            <a:ext cx="12192001" cy="67350"/>
          </a:xfrm>
          <a:prstGeom prst="rect">
            <a:avLst/>
          </a:prstGeom>
        </p:spPr>
      </p:pic>
      <p:sp>
        <p:nvSpPr>
          <p:cNvPr id="13" name="AutoShape 4"/>
          <p:cNvSpPr>
            <a:spLocks noChangeAspect="1" noChangeArrowheads="1" noTextEdit="1"/>
          </p:cNvSpPr>
          <p:nvPr userDrawn="1"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Freeform 6"/>
          <p:cNvSpPr>
            <a:spLocks/>
          </p:cNvSpPr>
          <p:nvPr userDrawn="1"/>
        </p:nvSpPr>
        <p:spPr bwMode="auto">
          <a:xfrm>
            <a:off x="10104558" y="546724"/>
            <a:ext cx="576131" cy="33206"/>
          </a:xfrm>
          <a:custGeom>
            <a:avLst/>
            <a:gdLst/>
            <a:ahLst/>
            <a:cxnLst>
              <a:cxn ang="0">
                <a:pos x="1505" y="0"/>
              </a:cxn>
              <a:cxn ang="0">
                <a:pos x="0" y="0"/>
              </a:cxn>
              <a:cxn ang="0">
                <a:pos x="0" y="84"/>
              </a:cxn>
              <a:cxn ang="0">
                <a:pos x="1509" y="84"/>
              </a:cxn>
              <a:cxn ang="0">
                <a:pos x="1505" y="0"/>
              </a:cxn>
            </a:cxnLst>
            <a:rect l="0" t="0" r="r" b="b"/>
            <a:pathLst>
              <a:path w="1509" h="84">
                <a:moveTo>
                  <a:pt x="1505" y="0"/>
                </a:moveTo>
                <a:lnTo>
                  <a:pt x="0" y="0"/>
                </a:lnTo>
                <a:lnTo>
                  <a:pt x="0" y="84"/>
                </a:lnTo>
                <a:lnTo>
                  <a:pt x="1509" y="84"/>
                </a:lnTo>
                <a:lnTo>
                  <a:pt x="1505" y="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Freeform 7"/>
          <p:cNvSpPr>
            <a:spLocks/>
          </p:cNvSpPr>
          <p:nvPr userDrawn="1"/>
        </p:nvSpPr>
        <p:spPr bwMode="auto">
          <a:xfrm>
            <a:off x="11029357" y="546724"/>
            <a:ext cx="576131" cy="33206"/>
          </a:xfrm>
          <a:custGeom>
            <a:avLst/>
            <a:gdLst/>
            <a:ahLst/>
            <a:cxnLst>
              <a:cxn ang="0">
                <a:pos x="1510" y="0"/>
              </a:cxn>
              <a:cxn ang="0">
                <a:pos x="9" y="0"/>
              </a:cxn>
              <a:cxn ang="0">
                <a:pos x="0" y="84"/>
              </a:cxn>
              <a:cxn ang="0">
                <a:pos x="1510" y="84"/>
              </a:cxn>
              <a:cxn ang="0">
                <a:pos x="1510" y="0"/>
              </a:cxn>
            </a:cxnLst>
            <a:rect l="0" t="0" r="r" b="b"/>
            <a:pathLst>
              <a:path w="1510" h="84">
                <a:moveTo>
                  <a:pt x="1510" y="0"/>
                </a:moveTo>
                <a:lnTo>
                  <a:pt x="9" y="0"/>
                </a:lnTo>
                <a:lnTo>
                  <a:pt x="0" y="84"/>
                </a:lnTo>
                <a:lnTo>
                  <a:pt x="1510" y="84"/>
                </a:lnTo>
                <a:lnTo>
                  <a:pt x="1510" y="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Freeform 8"/>
          <p:cNvSpPr>
            <a:spLocks/>
          </p:cNvSpPr>
          <p:nvPr userDrawn="1"/>
        </p:nvSpPr>
        <p:spPr bwMode="auto">
          <a:xfrm>
            <a:off x="10099577" y="666268"/>
            <a:ext cx="131166" cy="122864"/>
          </a:xfrm>
          <a:custGeom>
            <a:avLst/>
            <a:gdLst/>
            <a:ahLst/>
            <a:cxnLst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48" y="309"/>
              </a:cxn>
              <a:cxn ang="0">
                <a:pos x="148" y="292"/>
              </a:cxn>
              <a:cxn ang="0">
                <a:pos x="106" y="283"/>
              </a:cxn>
              <a:cxn ang="0">
                <a:pos x="106" y="30"/>
              </a:cxn>
              <a:cxn ang="0">
                <a:pos x="232" y="30"/>
              </a:cxn>
              <a:cxn ang="0">
                <a:pos x="232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0" y="0"/>
              </a:cxn>
              <a:cxn ang="0">
                <a:pos x="0" y="17"/>
              </a:cxn>
            </a:cxnLst>
            <a:rect l="0" t="0" r="r" b="b"/>
            <a:pathLst>
              <a:path w="342" h="309">
                <a:moveTo>
                  <a:pt x="0" y="17"/>
                </a:move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48" y="309"/>
                </a:lnTo>
                <a:lnTo>
                  <a:pt x="148" y="292"/>
                </a:lnTo>
                <a:lnTo>
                  <a:pt x="106" y="283"/>
                </a:lnTo>
                <a:lnTo>
                  <a:pt x="106" y="30"/>
                </a:lnTo>
                <a:lnTo>
                  <a:pt x="232" y="30"/>
                </a:lnTo>
                <a:lnTo>
                  <a:pt x="232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0" y="0"/>
                </a:lnTo>
                <a:lnTo>
                  <a:pt x="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7" name="Freeform 9"/>
          <p:cNvSpPr>
            <a:spLocks noEditPoints="1"/>
          </p:cNvSpPr>
          <p:nvPr userDrawn="1"/>
        </p:nvSpPr>
        <p:spPr bwMode="auto">
          <a:xfrm>
            <a:off x="10253987" y="666268"/>
            <a:ext cx="89658" cy="122864"/>
          </a:xfrm>
          <a:custGeom>
            <a:avLst/>
            <a:gdLst/>
            <a:ahLst/>
            <a:cxnLst>
              <a:cxn ang="0">
                <a:pos x="148" y="0"/>
              </a:cxn>
              <a:cxn ang="0">
                <a:pos x="139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139" y="309"/>
              </a:cxn>
              <a:cxn ang="0">
                <a:pos x="156" y="309"/>
              </a:cxn>
              <a:cxn ang="0">
                <a:pos x="156" y="292"/>
              </a:cxn>
              <a:cxn ang="0">
                <a:pos x="139" y="288"/>
              </a:cxn>
              <a:cxn ang="0">
                <a:pos x="101" y="283"/>
              </a:cxn>
              <a:cxn ang="0">
                <a:pos x="101" y="178"/>
              </a:cxn>
              <a:cxn ang="0">
                <a:pos x="127" y="178"/>
              </a:cxn>
              <a:cxn ang="0">
                <a:pos x="139" y="178"/>
              </a:cxn>
              <a:cxn ang="0">
                <a:pos x="236" y="81"/>
              </a:cxn>
              <a:cxn ang="0">
                <a:pos x="148" y="0"/>
              </a:cxn>
              <a:cxn ang="0">
                <a:pos x="139" y="161"/>
              </a:cxn>
              <a:cxn ang="0">
                <a:pos x="139" y="161"/>
              </a:cxn>
              <a:cxn ang="0">
                <a:pos x="118" y="161"/>
              </a:cxn>
              <a:cxn ang="0">
                <a:pos x="101" y="161"/>
              </a:cxn>
              <a:cxn ang="0">
                <a:pos x="101" y="21"/>
              </a:cxn>
              <a:cxn ang="0">
                <a:pos x="118" y="21"/>
              </a:cxn>
              <a:cxn ang="0">
                <a:pos x="139" y="26"/>
              </a:cxn>
              <a:cxn ang="0">
                <a:pos x="173" y="93"/>
              </a:cxn>
              <a:cxn ang="0">
                <a:pos x="139" y="161"/>
              </a:cxn>
            </a:cxnLst>
            <a:rect l="0" t="0" r="r" b="b"/>
            <a:pathLst>
              <a:path w="236" h="309">
                <a:moveTo>
                  <a:pt x="148" y="0"/>
                </a:moveTo>
                <a:lnTo>
                  <a:pt x="139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139" y="309"/>
                </a:lnTo>
                <a:lnTo>
                  <a:pt x="156" y="309"/>
                </a:lnTo>
                <a:lnTo>
                  <a:pt x="156" y="292"/>
                </a:lnTo>
                <a:lnTo>
                  <a:pt x="139" y="288"/>
                </a:lnTo>
                <a:lnTo>
                  <a:pt x="101" y="283"/>
                </a:lnTo>
                <a:lnTo>
                  <a:pt x="101" y="178"/>
                </a:lnTo>
                <a:lnTo>
                  <a:pt x="127" y="178"/>
                </a:lnTo>
                <a:lnTo>
                  <a:pt x="139" y="178"/>
                </a:lnTo>
                <a:cubicBezTo>
                  <a:pt x="203" y="174"/>
                  <a:pt x="236" y="144"/>
                  <a:pt x="236" y="81"/>
                </a:cubicBezTo>
                <a:cubicBezTo>
                  <a:pt x="236" y="26"/>
                  <a:pt x="198" y="0"/>
                  <a:pt x="148" y="0"/>
                </a:cubicBezTo>
                <a:close/>
                <a:moveTo>
                  <a:pt x="139" y="161"/>
                </a:moveTo>
                <a:lnTo>
                  <a:pt x="139" y="161"/>
                </a:lnTo>
                <a:lnTo>
                  <a:pt x="118" y="161"/>
                </a:lnTo>
                <a:lnTo>
                  <a:pt x="101" y="161"/>
                </a:lnTo>
                <a:lnTo>
                  <a:pt x="101" y="21"/>
                </a:lnTo>
                <a:lnTo>
                  <a:pt x="118" y="21"/>
                </a:lnTo>
                <a:cubicBezTo>
                  <a:pt x="122" y="21"/>
                  <a:pt x="131" y="21"/>
                  <a:pt x="139" y="26"/>
                </a:cubicBezTo>
                <a:cubicBezTo>
                  <a:pt x="156" y="30"/>
                  <a:pt x="173" y="51"/>
                  <a:pt x="173" y="93"/>
                </a:cubicBezTo>
                <a:cubicBezTo>
                  <a:pt x="173" y="123"/>
                  <a:pt x="165" y="152"/>
                  <a:pt x="139" y="161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" name="Freeform 10"/>
          <p:cNvSpPr>
            <a:spLocks noEditPoints="1"/>
          </p:cNvSpPr>
          <p:nvPr userDrawn="1"/>
        </p:nvSpPr>
        <p:spPr bwMode="auto">
          <a:xfrm>
            <a:off x="10368549" y="664607"/>
            <a:ext cx="121204" cy="126184"/>
          </a:xfrm>
          <a:custGeom>
            <a:avLst/>
            <a:gdLst/>
            <a:ahLst/>
            <a:cxnLst>
              <a:cxn ang="0">
                <a:pos x="160" y="0"/>
              </a:cxn>
              <a:cxn ang="0">
                <a:pos x="156" y="0"/>
              </a:cxn>
              <a:cxn ang="0">
                <a:pos x="0" y="156"/>
              </a:cxn>
              <a:cxn ang="0">
                <a:pos x="156" y="317"/>
              </a:cxn>
              <a:cxn ang="0">
                <a:pos x="160" y="317"/>
              </a:cxn>
              <a:cxn ang="0">
                <a:pos x="317" y="156"/>
              </a:cxn>
              <a:cxn ang="0">
                <a:pos x="160" y="0"/>
              </a:cxn>
              <a:cxn ang="0">
                <a:pos x="160" y="300"/>
              </a:cxn>
              <a:cxn ang="0">
                <a:pos x="160" y="300"/>
              </a:cxn>
              <a:cxn ang="0">
                <a:pos x="156" y="300"/>
              </a:cxn>
              <a:cxn ang="0">
                <a:pos x="72" y="148"/>
              </a:cxn>
              <a:cxn ang="0">
                <a:pos x="156" y="17"/>
              </a:cxn>
              <a:cxn ang="0">
                <a:pos x="245" y="169"/>
              </a:cxn>
              <a:cxn ang="0">
                <a:pos x="160" y="300"/>
              </a:cxn>
            </a:cxnLst>
            <a:rect l="0" t="0" r="r" b="b"/>
            <a:pathLst>
              <a:path w="317" h="317">
                <a:moveTo>
                  <a:pt x="160" y="0"/>
                </a:moveTo>
                <a:lnTo>
                  <a:pt x="156" y="0"/>
                </a:lnTo>
                <a:cubicBezTo>
                  <a:pt x="55" y="0"/>
                  <a:pt x="0" y="55"/>
                  <a:pt x="0" y="156"/>
                </a:cubicBezTo>
                <a:cubicBezTo>
                  <a:pt x="0" y="262"/>
                  <a:pt x="55" y="317"/>
                  <a:pt x="156" y="317"/>
                </a:cubicBezTo>
                <a:lnTo>
                  <a:pt x="160" y="317"/>
                </a:lnTo>
                <a:cubicBezTo>
                  <a:pt x="258" y="317"/>
                  <a:pt x="317" y="262"/>
                  <a:pt x="317" y="156"/>
                </a:cubicBezTo>
                <a:cubicBezTo>
                  <a:pt x="317" y="55"/>
                  <a:pt x="262" y="0"/>
                  <a:pt x="160" y="0"/>
                </a:cubicBezTo>
                <a:close/>
                <a:moveTo>
                  <a:pt x="160" y="300"/>
                </a:moveTo>
                <a:lnTo>
                  <a:pt x="160" y="300"/>
                </a:lnTo>
                <a:lnTo>
                  <a:pt x="156" y="300"/>
                </a:lnTo>
                <a:cubicBezTo>
                  <a:pt x="110" y="296"/>
                  <a:pt x="72" y="258"/>
                  <a:pt x="72" y="148"/>
                </a:cubicBezTo>
                <a:cubicBezTo>
                  <a:pt x="72" y="55"/>
                  <a:pt x="106" y="21"/>
                  <a:pt x="156" y="17"/>
                </a:cubicBezTo>
                <a:cubicBezTo>
                  <a:pt x="207" y="21"/>
                  <a:pt x="245" y="63"/>
                  <a:pt x="245" y="169"/>
                </a:cubicBezTo>
                <a:cubicBezTo>
                  <a:pt x="245" y="232"/>
                  <a:pt x="220" y="300"/>
                  <a:pt x="160" y="300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" name="Freeform 11"/>
          <p:cNvSpPr>
            <a:spLocks/>
          </p:cNvSpPr>
          <p:nvPr userDrawn="1"/>
        </p:nvSpPr>
        <p:spPr bwMode="auto">
          <a:xfrm>
            <a:off x="10517978" y="664607"/>
            <a:ext cx="111241" cy="126184"/>
          </a:xfrm>
          <a:custGeom>
            <a:avLst/>
            <a:gdLst/>
            <a:ahLst/>
            <a:cxnLst>
              <a:cxn ang="0">
                <a:pos x="190" y="296"/>
              </a:cxn>
              <a:cxn ang="0">
                <a:pos x="72" y="156"/>
              </a:cxn>
              <a:cxn ang="0">
                <a:pos x="173" y="21"/>
              </a:cxn>
              <a:cxn ang="0">
                <a:pos x="266" y="101"/>
              </a:cxn>
              <a:cxn ang="0">
                <a:pos x="283" y="101"/>
              </a:cxn>
              <a:cxn ang="0">
                <a:pos x="283" y="17"/>
              </a:cxn>
              <a:cxn ang="0">
                <a:pos x="262" y="17"/>
              </a:cxn>
              <a:cxn ang="0">
                <a:pos x="165" y="0"/>
              </a:cxn>
              <a:cxn ang="0">
                <a:pos x="0" y="152"/>
              </a:cxn>
              <a:cxn ang="0">
                <a:pos x="165" y="317"/>
              </a:cxn>
              <a:cxn ang="0">
                <a:pos x="292" y="287"/>
              </a:cxn>
              <a:cxn ang="0">
                <a:pos x="292" y="241"/>
              </a:cxn>
              <a:cxn ang="0">
                <a:pos x="283" y="241"/>
              </a:cxn>
              <a:cxn ang="0">
                <a:pos x="190" y="296"/>
              </a:cxn>
            </a:cxnLst>
            <a:rect l="0" t="0" r="r" b="b"/>
            <a:pathLst>
              <a:path w="292" h="317">
                <a:moveTo>
                  <a:pt x="190" y="296"/>
                </a:moveTo>
                <a:cubicBezTo>
                  <a:pt x="114" y="296"/>
                  <a:pt x="72" y="224"/>
                  <a:pt x="72" y="156"/>
                </a:cubicBezTo>
                <a:cubicBezTo>
                  <a:pt x="72" y="80"/>
                  <a:pt x="110" y="21"/>
                  <a:pt x="173" y="21"/>
                </a:cubicBezTo>
                <a:cubicBezTo>
                  <a:pt x="224" y="21"/>
                  <a:pt x="258" y="51"/>
                  <a:pt x="266" y="101"/>
                </a:cubicBezTo>
                <a:lnTo>
                  <a:pt x="283" y="101"/>
                </a:lnTo>
                <a:lnTo>
                  <a:pt x="283" y="17"/>
                </a:lnTo>
                <a:lnTo>
                  <a:pt x="262" y="17"/>
                </a:lnTo>
                <a:cubicBezTo>
                  <a:pt x="233" y="8"/>
                  <a:pt x="199" y="0"/>
                  <a:pt x="165" y="0"/>
                </a:cubicBezTo>
                <a:cubicBezTo>
                  <a:pt x="76" y="0"/>
                  <a:pt x="0" y="47"/>
                  <a:pt x="0" y="152"/>
                </a:cubicBezTo>
                <a:cubicBezTo>
                  <a:pt x="0" y="254"/>
                  <a:pt x="68" y="317"/>
                  <a:pt x="165" y="317"/>
                </a:cubicBezTo>
                <a:cubicBezTo>
                  <a:pt x="237" y="317"/>
                  <a:pt x="262" y="300"/>
                  <a:pt x="292" y="287"/>
                </a:cubicBezTo>
                <a:lnTo>
                  <a:pt x="292" y="241"/>
                </a:lnTo>
                <a:lnTo>
                  <a:pt x="283" y="241"/>
                </a:lnTo>
                <a:cubicBezTo>
                  <a:pt x="271" y="279"/>
                  <a:pt x="228" y="296"/>
                  <a:pt x="190" y="296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Freeform 12"/>
          <p:cNvSpPr>
            <a:spLocks noEditPoints="1"/>
          </p:cNvSpPr>
          <p:nvPr userDrawn="1"/>
        </p:nvSpPr>
        <p:spPr bwMode="auto">
          <a:xfrm>
            <a:off x="10654125" y="666268"/>
            <a:ext cx="96299" cy="122864"/>
          </a:xfrm>
          <a:custGeom>
            <a:avLst/>
            <a:gdLst/>
            <a:ahLst/>
            <a:cxnLst>
              <a:cxn ang="0">
                <a:pos x="174" y="148"/>
              </a:cxn>
              <a:cxn ang="0">
                <a:pos x="174" y="144"/>
              </a:cxn>
              <a:cxn ang="0">
                <a:pos x="241" y="72"/>
              </a:cxn>
              <a:cxn ang="0">
                <a:pos x="140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140" y="309"/>
              </a:cxn>
              <a:cxn ang="0">
                <a:pos x="148" y="309"/>
              </a:cxn>
              <a:cxn ang="0">
                <a:pos x="254" y="228"/>
              </a:cxn>
              <a:cxn ang="0">
                <a:pos x="174" y="148"/>
              </a:cxn>
              <a:cxn ang="0">
                <a:pos x="102" y="21"/>
              </a:cxn>
              <a:cxn ang="0">
                <a:pos x="102" y="21"/>
              </a:cxn>
              <a:cxn ang="0">
                <a:pos x="140" y="26"/>
              </a:cxn>
              <a:cxn ang="0">
                <a:pos x="174" y="81"/>
              </a:cxn>
              <a:cxn ang="0">
                <a:pos x="140" y="136"/>
              </a:cxn>
              <a:cxn ang="0">
                <a:pos x="127" y="140"/>
              </a:cxn>
              <a:cxn ang="0">
                <a:pos x="102" y="140"/>
              </a:cxn>
              <a:cxn ang="0">
                <a:pos x="102" y="21"/>
              </a:cxn>
              <a:cxn ang="0">
                <a:pos x="140" y="288"/>
              </a:cxn>
              <a:cxn ang="0">
                <a:pos x="140" y="288"/>
              </a:cxn>
              <a:cxn ang="0">
                <a:pos x="102" y="271"/>
              </a:cxn>
              <a:cxn ang="0">
                <a:pos x="102" y="157"/>
              </a:cxn>
              <a:cxn ang="0">
                <a:pos x="127" y="157"/>
              </a:cxn>
              <a:cxn ang="0">
                <a:pos x="140" y="157"/>
              </a:cxn>
              <a:cxn ang="0">
                <a:pos x="190" y="228"/>
              </a:cxn>
              <a:cxn ang="0">
                <a:pos x="140" y="288"/>
              </a:cxn>
            </a:cxnLst>
            <a:rect l="0" t="0" r="r" b="b"/>
            <a:pathLst>
              <a:path w="254" h="309">
                <a:moveTo>
                  <a:pt x="174" y="148"/>
                </a:moveTo>
                <a:lnTo>
                  <a:pt x="174" y="144"/>
                </a:lnTo>
                <a:cubicBezTo>
                  <a:pt x="212" y="136"/>
                  <a:pt x="241" y="110"/>
                  <a:pt x="241" y="72"/>
                </a:cubicBezTo>
                <a:cubicBezTo>
                  <a:pt x="241" y="21"/>
                  <a:pt x="199" y="0"/>
                  <a:pt x="140" y="0"/>
                </a:cubicBez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140" y="309"/>
                </a:lnTo>
                <a:lnTo>
                  <a:pt x="148" y="309"/>
                </a:lnTo>
                <a:cubicBezTo>
                  <a:pt x="207" y="309"/>
                  <a:pt x="254" y="279"/>
                  <a:pt x="254" y="228"/>
                </a:cubicBezTo>
                <a:cubicBezTo>
                  <a:pt x="254" y="174"/>
                  <a:pt x="224" y="152"/>
                  <a:pt x="174" y="148"/>
                </a:cubicBezTo>
                <a:close/>
                <a:moveTo>
                  <a:pt x="102" y="21"/>
                </a:moveTo>
                <a:lnTo>
                  <a:pt x="102" y="21"/>
                </a:lnTo>
                <a:cubicBezTo>
                  <a:pt x="114" y="21"/>
                  <a:pt x="127" y="21"/>
                  <a:pt x="140" y="26"/>
                </a:cubicBezTo>
                <a:cubicBezTo>
                  <a:pt x="161" y="30"/>
                  <a:pt x="174" y="47"/>
                  <a:pt x="174" y="81"/>
                </a:cubicBezTo>
                <a:cubicBezTo>
                  <a:pt x="174" y="106"/>
                  <a:pt x="165" y="131"/>
                  <a:pt x="140" y="136"/>
                </a:cubicBezTo>
                <a:cubicBezTo>
                  <a:pt x="135" y="136"/>
                  <a:pt x="131" y="140"/>
                  <a:pt x="127" y="140"/>
                </a:cubicBezTo>
                <a:lnTo>
                  <a:pt x="102" y="140"/>
                </a:lnTo>
                <a:lnTo>
                  <a:pt x="102" y="21"/>
                </a:lnTo>
                <a:close/>
                <a:moveTo>
                  <a:pt x="140" y="288"/>
                </a:moveTo>
                <a:lnTo>
                  <a:pt x="140" y="288"/>
                </a:lnTo>
                <a:cubicBezTo>
                  <a:pt x="123" y="288"/>
                  <a:pt x="110" y="279"/>
                  <a:pt x="102" y="271"/>
                </a:cubicBezTo>
                <a:lnTo>
                  <a:pt x="102" y="157"/>
                </a:lnTo>
                <a:lnTo>
                  <a:pt x="127" y="157"/>
                </a:lnTo>
                <a:lnTo>
                  <a:pt x="140" y="157"/>
                </a:lnTo>
                <a:cubicBezTo>
                  <a:pt x="174" y="165"/>
                  <a:pt x="190" y="190"/>
                  <a:pt x="190" y="228"/>
                </a:cubicBezTo>
                <a:cubicBezTo>
                  <a:pt x="190" y="262"/>
                  <a:pt x="174" y="288"/>
                  <a:pt x="140" y="288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Freeform 13"/>
          <p:cNvSpPr>
            <a:spLocks/>
          </p:cNvSpPr>
          <p:nvPr userDrawn="1"/>
        </p:nvSpPr>
        <p:spPr bwMode="auto">
          <a:xfrm>
            <a:off x="10778649" y="666268"/>
            <a:ext cx="89658" cy="122864"/>
          </a:xfrm>
          <a:custGeom>
            <a:avLst/>
            <a:gdLst/>
            <a:ahLst/>
            <a:cxnLst>
              <a:cxn ang="0">
                <a:pos x="199" y="279"/>
              </a:cxn>
              <a:cxn ang="0">
                <a:pos x="101" y="279"/>
              </a:cxn>
              <a:cxn ang="0">
                <a:pos x="101" y="157"/>
              </a:cxn>
              <a:cxn ang="0">
                <a:pos x="156" y="157"/>
              </a:cxn>
              <a:cxn ang="0">
                <a:pos x="169" y="199"/>
              </a:cxn>
              <a:cxn ang="0">
                <a:pos x="186" y="199"/>
              </a:cxn>
              <a:cxn ang="0">
                <a:pos x="182" y="144"/>
              </a:cxn>
              <a:cxn ang="0">
                <a:pos x="186" y="93"/>
              </a:cxn>
              <a:cxn ang="0">
                <a:pos x="169" y="93"/>
              </a:cxn>
              <a:cxn ang="0">
                <a:pos x="156" y="136"/>
              </a:cxn>
              <a:cxn ang="0">
                <a:pos x="101" y="136"/>
              </a:cxn>
              <a:cxn ang="0">
                <a:pos x="101" y="30"/>
              </a:cxn>
              <a:cxn ang="0">
                <a:pos x="194" y="30"/>
              </a:cxn>
              <a:cxn ang="0">
                <a:pos x="207" y="81"/>
              </a:cxn>
              <a:cxn ang="0">
                <a:pos x="224" y="81"/>
              </a:cxn>
              <a:cxn ang="0">
                <a:pos x="220" y="0"/>
              </a:cxn>
              <a:cxn ang="0">
                <a:pos x="203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224" y="309"/>
              </a:cxn>
              <a:cxn ang="0">
                <a:pos x="237" y="220"/>
              </a:cxn>
              <a:cxn ang="0">
                <a:pos x="220" y="220"/>
              </a:cxn>
              <a:cxn ang="0">
                <a:pos x="199" y="279"/>
              </a:cxn>
            </a:cxnLst>
            <a:rect l="0" t="0" r="r" b="b"/>
            <a:pathLst>
              <a:path w="237" h="309">
                <a:moveTo>
                  <a:pt x="199" y="279"/>
                </a:moveTo>
                <a:lnTo>
                  <a:pt x="101" y="279"/>
                </a:lnTo>
                <a:lnTo>
                  <a:pt x="101" y="157"/>
                </a:lnTo>
                <a:lnTo>
                  <a:pt x="156" y="157"/>
                </a:lnTo>
                <a:lnTo>
                  <a:pt x="169" y="199"/>
                </a:lnTo>
                <a:lnTo>
                  <a:pt x="186" y="199"/>
                </a:lnTo>
                <a:cubicBezTo>
                  <a:pt x="182" y="182"/>
                  <a:pt x="182" y="165"/>
                  <a:pt x="182" y="144"/>
                </a:cubicBezTo>
                <a:cubicBezTo>
                  <a:pt x="182" y="127"/>
                  <a:pt x="182" y="110"/>
                  <a:pt x="186" y="93"/>
                </a:cubicBezTo>
                <a:lnTo>
                  <a:pt x="169" y="93"/>
                </a:lnTo>
                <a:lnTo>
                  <a:pt x="156" y="136"/>
                </a:lnTo>
                <a:lnTo>
                  <a:pt x="101" y="136"/>
                </a:lnTo>
                <a:lnTo>
                  <a:pt x="101" y="30"/>
                </a:lnTo>
                <a:lnTo>
                  <a:pt x="194" y="30"/>
                </a:lnTo>
                <a:lnTo>
                  <a:pt x="207" y="81"/>
                </a:lnTo>
                <a:lnTo>
                  <a:pt x="224" y="81"/>
                </a:lnTo>
                <a:lnTo>
                  <a:pt x="220" y="0"/>
                </a:lnTo>
                <a:lnTo>
                  <a:pt x="203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224" y="309"/>
                </a:lnTo>
                <a:lnTo>
                  <a:pt x="237" y="220"/>
                </a:lnTo>
                <a:lnTo>
                  <a:pt x="220" y="220"/>
                </a:lnTo>
                <a:lnTo>
                  <a:pt x="199" y="279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2" name="Freeform 14"/>
          <p:cNvSpPr>
            <a:spLocks/>
          </p:cNvSpPr>
          <p:nvPr userDrawn="1"/>
        </p:nvSpPr>
        <p:spPr bwMode="auto">
          <a:xfrm>
            <a:off x="10893211" y="666268"/>
            <a:ext cx="189277" cy="157731"/>
          </a:xfrm>
          <a:custGeom>
            <a:avLst/>
            <a:gdLst/>
            <a:ahLst/>
            <a:cxnLst>
              <a:cxn ang="0">
                <a:pos x="444" y="26"/>
              </a:cxn>
              <a:cxn ang="0">
                <a:pos x="490" y="17"/>
              </a:cxn>
              <a:cxn ang="0">
                <a:pos x="490" y="0"/>
              </a:cxn>
              <a:cxn ang="0">
                <a:pos x="338" y="0"/>
              </a:cxn>
              <a:cxn ang="0">
                <a:pos x="338" y="17"/>
              </a:cxn>
              <a:cxn ang="0">
                <a:pos x="380" y="26"/>
              </a:cxn>
              <a:cxn ang="0">
                <a:pos x="380" y="283"/>
              </a:cxn>
              <a:cxn ang="0">
                <a:pos x="275" y="283"/>
              </a:cxn>
              <a:cxn ang="0">
                <a:pos x="275" y="26"/>
              </a:cxn>
              <a:cxn ang="0">
                <a:pos x="317" y="17"/>
              </a:cxn>
              <a:cxn ang="0">
                <a:pos x="317" y="0"/>
              </a:cxn>
              <a:cxn ang="0">
                <a:pos x="169" y="0"/>
              </a:cxn>
              <a:cxn ang="0">
                <a:pos x="169" y="17"/>
              </a:cxn>
              <a:cxn ang="0">
                <a:pos x="211" y="26"/>
              </a:cxn>
              <a:cxn ang="0">
                <a:pos x="211" y="283"/>
              </a:cxn>
              <a:cxn ang="0">
                <a:pos x="106" y="283"/>
              </a:cxn>
              <a:cxn ang="0">
                <a:pos x="106" y="26"/>
              </a:cxn>
              <a:cxn ang="0">
                <a:pos x="148" y="17"/>
              </a:cxn>
              <a:cxn ang="0">
                <a:pos x="148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457" y="309"/>
              </a:cxn>
              <a:cxn ang="0">
                <a:pos x="457" y="398"/>
              </a:cxn>
              <a:cxn ang="0">
                <a:pos x="474" y="398"/>
              </a:cxn>
              <a:cxn ang="0">
                <a:pos x="495" y="283"/>
              </a:cxn>
              <a:cxn ang="0">
                <a:pos x="444" y="283"/>
              </a:cxn>
              <a:cxn ang="0">
                <a:pos x="444" y="26"/>
              </a:cxn>
            </a:cxnLst>
            <a:rect l="0" t="0" r="r" b="b"/>
            <a:pathLst>
              <a:path w="495" h="398">
                <a:moveTo>
                  <a:pt x="444" y="26"/>
                </a:moveTo>
                <a:lnTo>
                  <a:pt x="490" y="17"/>
                </a:lnTo>
                <a:lnTo>
                  <a:pt x="490" y="0"/>
                </a:lnTo>
                <a:lnTo>
                  <a:pt x="338" y="0"/>
                </a:lnTo>
                <a:lnTo>
                  <a:pt x="338" y="17"/>
                </a:lnTo>
                <a:lnTo>
                  <a:pt x="380" y="26"/>
                </a:lnTo>
                <a:lnTo>
                  <a:pt x="380" y="283"/>
                </a:lnTo>
                <a:lnTo>
                  <a:pt x="275" y="283"/>
                </a:lnTo>
                <a:lnTo>
                  <a:pt x="275" y="26"/>
                </a:lnTo>
                <a:lnTo>
                  <a:pt x="317" y="17"/>
                </a:lnTo>
                <a:lnTo>
                  <a:pt x="317" y="0"/>
                </a:lnTo>
                <a:lnTo>
                  <a:pt x="169" y="0"/>
                </a:lnTo>
                <a:lnTo>
                  <a:pt x="169" y="17"/>
                </a:lnTo>
                <a:lnTo>
                  <a:pt x="211" y="26"/>
                </a:lnTo>
                <a:lnTo>
                  <a:pt x="211" y="283"/>
                </a:lnTo>
                <a:lnTo>
                  <a:pt x="106" y="283"/>
                </a:lnTo>
                <a:lnTo>
                  <a:pt x="106" y="26"/>
                </a:lnTo>
                <a:lnTo>
                  <a:pt x="148" y="17"/>
                </a:lnTo>
                <a:lnTo>
                  <a:pt x="148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457" y="309"/>
                </a:lnTo>
                <a:lnTo>
                  <a:pt x="457" y="398"/>
                </a:lnTo>
                <a:lnTo>
                  <a:pt x="474" y="398"/>
                </a:lnTo>
                <a:lnTo>
                  <a:pt x="495" y="283"/>
                </a:lnTo>
                <a:lnTo>
                  <a:pt x="444" y="283"/>
                </a:lnTo>
                <a:lnTo>
                  <a:pt x="444" y="26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" name="Freeform 15"/>
          <p:cNvSpPr>
            <a:spLocks/>
          </p:cNvSpPr>
          <p:nvPr userDrawn="1"/>
        </p:nvSpPr>
        <p:spPr bwMode="auto">
          <a:xfrm>
            <a:off x="11100751" y="666268"/>
            <a:ext cx="91317" cy="122864"/>
          </a:xfrm>
          <a:custGeom>
            <a:avLst/>
            <a:gdLst/>
            <a:ahLst/>
            <a:cxnLst>
              <a:cxn ang="0">
                <a:pos x="237" y="220"/>
              </a:cxn>
              <a:cxn ang="0">
                <a:pos x="224" y="220"/>
              </a:cxn>
              <a:cxn ang="0">
                <a:pos x="199" y="279"/>
              </a:cxn>
              <a:cxn ang="0">
                <a:pos x="102" y="279"/>
              </a:cxn>
              <a:cxn ang="0">
                <a:pos x="102" y="157"/>
              </a:cxn>
              <a:cxn ang="0">
                <a:pos x="157" y="157"/>
              </a:cxn>
              <a:cxn ang="0">
                <a:pos x="170" y="199"/>
              </a:cxn>
              <a:cxn ang="0">
                <a:pos x="186" y="199"/>
              </a:cxn>
              <a:cxn ang="0">
                <a:pos x="182" y="144"/>
              </a:cxn>
              <a:cxn ang="0">
                <a:pos x="186" y="93"/>
              </a:cxn>
              <a:cxn ang="0">
                <a:pos x="174" y="93"/>
              </a:cxn>
              <a:cxn ang="0">
                <a:pos x="157" y="136"/>
              </a:cxn>
              <a:cxn ang="0">
                <a:pos x="102" y="136"/>
              </a:cxn>
              <a:cxn ang="0">
                <a:pos x="102" y="30"/>
              </a:cxn>
              <a:cxn ang="0">
                <a:pos x="195" y="30"/>
              </a:cxn>
              <a:cxn ang="0">
                <a:pos x="208" y="81"/>
              </a:cxn>
              <a:cxn ang="0">
                <a:pos x="224" y="81"/>
              </a:cxn>
              <a:cxn ang="0">
                <a:pos x="220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229" y="309"/>
              </a:cxn>
              <a:cxn ang="0">
                <a:pos x="237" y="220"/>
              </a:cxn>
            </a:cxnLst>
            <a:rect l="0" t="0" r="r" b="b"/>
            <a:pathLst>
              <a:path w="237" h="309">
                <a:moveTo>
                  <a:pt x="237" y="220"/>
                </a:moveTo>
                <a:lnTo>
                  <a:pt x="224" y="220"/>
                </a:lnTo>
                <a:lnTo>
                  <a:pt x="199" y="279"/>
                </a:lnTo>
                <a:lnTo>
                  <a:pt x="102" y="279"/>
                </a:lnTo>
                <a:lnTo>
                  <a:pt x="102" y="157"/>
                </a:lnTo>
                <a:lnTo>
                  <a:pt x="157" y="157"/>
                </a:lnTo>
                <a:lnTo>
                  <a:pt x="170" y="199"/>
                </a:lnTo>
                <a:lnTo>
                  <a:pt x="186" y="199"/>
                </a:lnTo>
                <a:cubicBezTo>
                  <a:pt x="186" y="182"/>
                  <a:pt x="182" y="165"/>
                  <a:pt x="182" y="144"/>
                </a:cubicBezTo>
                <a:cubicBezTo>
                  <a:pt x="182" y="127"/>
                  <a:pt x="186" y="110"/>
                  <a:pt x="186" y="93"/>
                </a:cubicBezTo>
                <a:lnTo>
                  <a:pt x="174" y="93"/>
                </a:lnTo>
                <a:lnTo>
                  <a:pt x="157" y="136"/>
                </a:lnTo>
                <a:lnTo>
                  <a:pt x="102" y="136"/>
                </a:lnTo>
                <a:lnTo>
                  <a:pt x="102" y="30"/>
                </a:lnTo>
                <a:lnTo>
                  <a:pt x="195" y="30"/>
                </a:lnTo>
                <a:lnTo>
                  <a:pt x="208" y="81"/>
                </a:lnTo>
                <a:lnTo>
                  <a:pt x="224" y="81"/>
                </a:lnTo>
                <a:lnTo>
                  <a:pt x="220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229" y="309"/>
                </a:lnTo>
                <a:lnTo>
                  <a:pt x="237" y="22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4" name="Freeform 16"/>
          <p:cNvSpPr>
            <a:spLocks/>
          </p:cNvSpPr>
          <p:nvPr userDrawn="1"/>
        </p:nvSpPr>
        <p:spPr bwMode="auto">
          <a:xfrm>
            <a:off x="11216974" y="666268"/>
            <a:ext cx="129505" cy="122864"/>
          </a:xfrm>
          <a:custGeom>
            <a:avLst/>
            <a:gdLst/>
            <a:ahLst/>
            <a:cxnLst>
              <a:cxn ang="0">
                <a:pos x="190" y="17"/>
              </a:cxn>
              <a:cxn ang="0">
                <a:pos x="236" y="26"/>
              </a:cxn>
              <a:cxn ang="0">
                <a:pos x="236" y="136"/>
              </a:cxn>
              <a:cxn ang="0">
                <a:pos x="105" y="136"/>
              </a:cxn>
              <a:cxn ang="0">
                <a:pos x="105" y="26"/>
              </a:cxn>
              <a:cxn ang="0">
                <a:pos x="152" y="17"/>
              </a:cxn>
              <a:cxn ang="0">
                <a:pos x="152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52" y="309"/>
              </a:cxn>
              <a:cxn ang="0">
                <a:pos x="152" y="292"/>
              </a:cxn>
              <a:cxn ang="0">
                <a:pos x="105" y="283"/>
              </a:cxn>
              <a:cxn ang="0">
                <a:pos x="105" y="161"/>
              </a:cxn>
              <a:cxn ang="0">
                <a:pos x="236" y="161"/>
              </a:cxn>
              <a:cxn ang="0">
                <a:pos x="236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190" y="0"/>
              </a:cxn>
              <a:cxn ang="0">
                <a:pos x="190" y="17"/>
              </a:cxn>
            </a:cxnLst>
            <a:rect l="0" t="0" r="r" b="b"/>
            <a:pathLst>
              <a:path w="342" h="309">
                <a:moveTo>
                  <a:pt x="190" y="17"/>
                </a:moveTo>
                <a:lnTo>
                  <a:pt x="236" y="26"/>
                </a:lnTo>
                <a:lnTo>
                  <a:pt x="236" y="136"/>
                </a:lnTo>
                <a:lnTo>
                  <a:pt x="105" y="136"/>
                </a:lnTo>
                <a:lnTo>
                  <a:pt x="105" y="26"/>
                </a:lnTo>
                <a:lnTo>
                  <a:pt x="152" y="17"/>
                </a:lnTo>
                <a:lnTo>
                  <a:pt x="152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52" y="309"/>
                </a:lnTo>
                <a:lnTo>
                  <a:pt x="152" y="292"/>
                </a:lnTo>
                <a:lnTo>
                  <a:pt x="105" y="283"/>
                </a:lnTo>
                <a:lnTo>
                  <a:pt x="105" y="161"/>
                </a:lnTo>
                <a:lnTo>
                  <a:pt x="236" y="161"/>
                </a:lnTo>
                <a:lnTo>
                  <a:pt x="236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190" y="0"/>
                </a:lnTo>
                <a:lnTo>
                  <a:pt x="19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5" name="Freeform 17"/>
          <p:cNvSpPr>
            <a:spLocks/>
          </p:cNvSpPr>
          <p:nvPr userDrawn="1"/>
        </p:nvSpPr>
        <p:spPr bwMode="auto">
          <a:xfrm>
            <a:off x="11368063" y="666268"/>
            <a:ext cx="131166" cy="122864"/>
          </a:xfrm>
          <a:custGeom>
            <a:avLst/>
            <a:gdLst/>
            <a:ahLst/>
            <a:cxnLst>
              <a:cxn ang="0">
                <a:pos x="190" y="17"/>
              </a:cxn>
              <a:cxn ang="0">
                <a:pos x="237" y="26"/>
              </a:cxn>
              <a:cxn ang="0">
                <a:pos x="237" y="30"/>
              </a:cxn>
              <a:cxn ang="0">
                <a:pos x="106" y="237"/>
              </a:cxn>
              <a:cxn ang="0">
                <a:pos x="106" y="26"/>
              </a:cxn>
              <a:cxn ang="0">
                <a:pos x="152" y="17"/>
              </a:cxn>
              <a:cxn ang="0">
                <a:pos x="152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52" y="309"/>
              </a:cxn>
              <a:cxn ang="0">
                <a:pos x="152" y="292"/>
              </a:cxn>
              <a:cxn ang="0">
                <a:pos x="106" y="283"/>
              </a:cxn>
              <a:cxn ang="0">
                <a:pos x="106" y="279"/>
              </a:cxn>
              <a:cxn ang="0">
                <a:pos x="237" y="72"/>
              </a:cxn>
              <a:cxn ang="0">
                <a:pos x="237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190" y="0"/>
              </a:cxn>
              <a:cxn ang="0">
                <a:pos x="190" y="17"/>
              </a:cxn>
            </a:cxnLst>
            <a:rect l="0" t="0" r="r" b="b"/>
            <a:pathLst>
              <a:path w="342" h="309">
                <a:moveTo>
                  <a:pt x="190" y="17"/>
                </a:moveTo>
                <a:lnTo>
                  <a:pt x="237" y="26"/>
                </a:lnTo>
                <a:lnTo>
                  <a:pt x="237" y="30"/>
                </a:lnTo>
                <a:lnTo>
                  <a:pt x="106" y="237"/>
                </a:lnTo>
                <a:lnTo>
                  <a:pt x="106" y="26"/>
                </a:lnTo>
                <a:lnTo>
                  <a:pt x="152" y="17"/>
                </a:lnTo>
                <a:lnTo>
                  <a:pt x="152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52" y="309"/>
                </a:lnTo>
                <a:lnTo>
                  <a:pt x="152" y="292"/>
                </a:lnTo>
                <a:lnTo>
                  <a:pt x="106" y="283"/>
                </a:lnTo>
                <a:lnTo>
                  <a:pt x="106" y="279"/>
                </a:lnTo>
                <a:lnTo>
                  <a:pt x="237" y="72"/>
                </a:lnTo>
                <a:lnTo>
                  <a:pt x="237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190" y="0"/>
                </a:lnTo>
                <a:lnTo>
                  <a:pt x="19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6" name="Freeform 18"/>
          <p:cNvSpPr>
            <a:spLocks/>
          </p:cNvSpPr>
          <p:nvPr userDrawn="1"/>
        </p:nvSpPr>
        <p:spPr bwMode="auto">
          <a:xfrm>
            <a:off x="11519152" y="666268"/>
            <a:ext cx="92978" cy="122864"/>
          </a:xfrm>
          <a:custGeom>
            <a:avLst/>
            <a:gdLst/>
            <a:ahLst/>
            <a:cxnLst>
              <a:cxn ang="0">
                <a:pos x="225" y="220"/>
              </a:cxn>
              <a:cxn ang="0">
                <a:pos x="199" y="279"/>
              </a:cxn>
              <a:cxn ang="0">
                <a:pos x="106" y="279"/>
              </a:cxn>
              <a:cxn ang="0">
                <a:pos x="106" y="157"/>
              </a:cxn>
              <a:cxn ang="0">
                <a:pos x="161" y="157"/>
              </a:cxn>
              <a:cxn ang="0">
                <a:pos x="174" y="199"/>
              </a:cxn>
              <a:cxn ang="0">
                <a:pos x="187" y="199"/>
              </a:cxn>
              <a:cxn ang="0">
                <a:pos x="187" y="144"/>
              </a:cxn>
              <a:cxn ang="0">
                <a:pos x="187" y="93"/>
              </a:cxn>
              <a:cxn ang="0">
                <a:pos x="174" y="93"/>
              </a:cxn>
              <a:cxn ang="0">
                <a:pos x="161" y="136"/>
              </a:cxn>
              <a:cxn ang="0">
                <a:pos x="106" y="136"/>
              </a:cxn>
              <a:cxn ang="0">
                <a:pos x="106" y="30"/>
              </a:cxn>
              <a:cxn ang="0">
                <a:pos x="195" y="30"/>
              </a:cxn>
              <a:cxn ang="0">
                <a:pos x="212" y="81"/>
              </a:cxn>
              <a:cxn ang="0">
                <a:pos x="225" y="81"/>
              </a:cxn>
              <a:cxn ang="0">
                <a:pos x="225" y="0"/>
              </a:cxn>
              <a:cxn ang="0">
                <a:pos x="0" y="0"/>
              </a:cxn>
              <a:cxn ang="0">
                <a:pos x="0" y="17"/>
              </a:cxn>
              <a:cxn ang="0">
                <a:pos x="43" y="26"/>
              </a:cxn>
              <a:cxn ang="0">
                <a:pos x="43" y="283"/>
              </a:cxn>
              <a:cxn ang="0">
                <a:pos x="0" y="292"/>
              </a:cxn>
              <a:cxn ang="0">
                <a:pos x="0" y="309"/>
              </a:cxn>
              <a:cxn ang="0">
                <a:pos x="229" y="309"/>
              </a:cxn>
              <a:cxn ang="0">
                <a:pos x="241" y="220"/>
              </a:cxn>
              <a:cxn ang="0">
                <a:pos x="225" y="220"/>
              </a:cxn>
            </a:cxnLst>
            <a:rect l="0" t="0" r="r" b="b"/>
            <a:pathLst>
              <a:path w="241" h="309">
                <a:moveTo>
                  <a:pt x="225" y="220"/>
                </a:moveTo>
                <a:lnTo>
                  <a:pt x="199" y="279"/>
                </a:lnTo>
                <a:lnTo>
                  <a:pt x="106" y="279"/>
                </a:lnTo>
                <a:lnTo>
                  <a:pt x="106" y="157"/>
                </a:lnTo>
                <a:lnTo>
                  <a:pt x="161" y="157"/>
                </a:lnTo>
                <a:lnTo>
                  <a:pt x="174" y="199"/>
                </a:lnTo>
                <a:lnTo>
                  <a:pt x="187" y="199"/>
                </a:lnTo>
                <a:lnTo>
                  <a:pt x="187" y="144"/>
                </a:lnTo>
                <a:lnTo>
                  <a:pt x="187" y="93"/>
                </a:lnTo>
                <a:lnTo>
                  <a:pt x="174" y="93"/>
                </a:lnTo>
                <a:lnTo>
                  <a:pt x="161" y="136"/>
                </a:lnTo>
                <a:lnTo>
                  <a:pt x="106" y="136"/>
                </a:lnTo>
                <a:lnTo>
                  <a:pt x="106" y="30"/>
                </a:lnTo>
                <a:lnTo>
                  <a:pt x="195" y="30"/>
                </a:lnTo>
                <a:lnTo>
                  <a:pt x="212" y="81"/>
                </a:lnTo>
                <a:lnTo>
                  <a:pt x="225" y="81"/>
                </a:lnTo>
                <a:lnTo>
                  <a:pt x="225" y="0"/>
                </a:lnTo>
                <a:lnTo>
                  <a:pt x="0" y="0"/>
                </a:lnTo>
                <a:lnTo>
                  <a:pt x="0" y="17"/>
                </a:lnTo>
                <a:lnTo>
                  <a:pt x="43" y="26"/>
                </a:lnTo>
                <a:lnTo>
                  <a:pt x="43" y="283"/>
                </a:lnTo>
                <a:lnTo>
                  <a:pt x="0" y="292"/>
                </a:lnTo>
                <a:lnTo>
                  <a:pt x="0" y="309"/>
                </a:lnTo>
                <a:lnTo>
                  <a:pt x="229" y="309"/>
                </a:lnTo>
                <a:lnTo>
                  <a:pt x="241" y="220"/>
                </a:lnTo>
                <a:lnTo>
                  <a:pt x="225" y="22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7" name="Freeform 19"/>
          <p:cNvSpPr>
            <a:spLocks noEditPoints="1"/>
          </p:cNvSpPr>
          <p:nvPr userDrawn="1"/>
        </p:nvSpPr>
        <p:spPr bwMode="auto">
          <a:xfrm>
            <a:off x="10735481" y="300997"/>
            <a:ext cx="240746" cy="303839"/>
          </a:xfrm>
          <a:custGeom>
            <a:avLst/>
            <a:gdLst/>
            <a:ahLst/>
            <a:cxnLst>
              <a:cxn ang="0">
                <a:pos x="317" y="774"/>
              </a:cxn>
              <a:cxn ang="0">
                <a:pos x="587" y="668"/>
              </a:cxn>
              <a:cxn ang="0">
                <a:pos x="630" y="85"/>
              </a:cxn>
              <a:cxn ang="0">
                <a:pos x="317" y="0"/>
              </a:cxn>
              <a:cxn ang="0">
                <a:pos x="160" y="42"/>
              </a:cxn>
              <a:cxn ang="0">
                <a:pos x="0" y="85"/>
              </a:cxn>
              <a:cxn ang="0">
                <a:pos x="42" y="668"/>
              </a:cxn>
              <a:cxn ang="0">
                <a:pos x="160" y="715"/>
              </a:cxn>
              <a:cxn ang="0">
                <a:pos x="317" y="774"/>
              </a:cxn>
              <a:cxn ang="0">
                <a:pos x="160" y="76"/>
              </a:cxn>
              <a:cxn ang="0">
                <a:pos x="160" y="76"/>
              </a:cxn>
              <a:cxn ang="0">
                <a:pos x="224" y="59"/>
              </a:cxn>
              <a:cxn ang="0">
                <a:pos x="160" y="161"/>
              </a:cxn>
              <a:cxn ang="0">
                <a:pos x="105" y="258"/>
              </a:cxn>
              <a:cxn ang="0">
                <a:pos x="105" y="186"/>
              </a:cxn>
              <a:cxn ang="0">
                <a:pos x="101" y="93"/>
              </a:cxn>
              <a:cxn ang="0">
                <a:pos x="160" y="76"/>
              </a:cxn>
              <a:cxn ang="0">
                <a:pos x="76" y="643"/>
              </a:cxn>
              <a:cxn ang="0">
                <a:pos x="76" y="643"/>
              </a:cxn>
              <a:cxn ang="0">
                <a:pos x="55" y="385"/>
              </a:cxn>
              <a:cxn ang="0">
                <a:pos x="114" y="389"/>
              </a:cxn>
              <a:cxn ang="0">
                <a:pos x="160" y="313"/>
              </a:cxn>
              <a:cxn ang="0">
                <a:pos x="228" y="203"/>
              </a:cxn>
              <a:cxn ang="0">
                <a:pos x="224" y="275"/>
              </a:cxn>
              <a:cxn ang="0">
                <a:pos x="228" y="397"/>
              </a:cxn>
              <a:cxn ang="0">
                <a:pos x="317" y="402"/>
              </a:cxn>
              <a:cxn ang="0">
                <a:pos x="317" y="34"/>
              </a:cxn>
              <a:cxn ang="0">
                <a:pos x="596" y="110"/>
              </a:cxn>
              <a:cxn ang="0">
                <a:pos x="575" y="385"/>
              </a:cxn>
              <a:cxn ang="0">
                <a:pos x="494" y="389"/>
              </a:cxn>
              <a:cxn ang="0">
                <a:pos x="507" y="156"/>
              </a:cxn>
              <a:cxn ang="0">
                <a:pos x="410" y="140"/>
              </a:cxn>
              <a:cxn ang="0">
                <a:pos x="406" y="397"/>
              </a:cxn>
              <a:cxn ang="0">
                <a:pos x="317" y="402"/>
              </a:cxn>
              <a:cxn ang="0">
                <a:pos x="317" y="736"/>
              </a:cxn>
              <a:cxn ang="0">
                <a:pos x="160" y="676"/>
              </a:cxn>
              <a:cxn ang="0">
                <a:pos x="76" y="643"/>
              </a:cxn>
            </a:cxnLst>
            <a:rect l="0" t="0" r="r" b="b"/>
            <a:pathLst>
              <a:path w="630" h="774">
                <a:moveTo>
                  <a:pt x="317" y="774"/>
                </a:moveTo>
                <a:lnTo>
                  <a:pt x="587" y="668"/>
                </a:lnTo>
                <a:lnTo>
                  <a:pt x="630" y="85"/>
                </a:lnTo>
                <a:lnTo>
                  <a:pt x="317" y="0"/>
                </a:lnTo>
                <a:lnTo>
                  <a:pt x="160" y="42"/>
                </a:lnTo>
                <a:lnTo>
                  <a:pt x="0" y="85"/>
                </a:lnTo>
                <a:lnTo>
                  <a:pt x="42" y="668"/>
                </a:lnTo>
                <a:lnTo>
                  <a:pt x="160" y="715"/>
                </a:lnTo>
                <a:lnTo>
                  <a:pt x="317" y="774"/>
                </a:lnTo>
                <a:close/>
                <a:moveTo>
                  <a:pt x="160" y="76"/>
                </a:moveTo>
                <a:lnTo>
                  <a:pt x="160" y="76"/>
                </a:lnTo>
                <a:lnTo>
                  <a:pt x="224" y="59"/>
                </a:lnTo>
                <a:lnTo>
                  <a:pt x="160" y="161"/>
                </a:lnTo>
                <a:lnTo>
                  <a:pt x="105" y="258"/>
                </a:lnTo>
                <a:lnTo>
                  <a:pt x="105" y="186"/>
                </a:lnTo>
                <a:lnTo>
                  <a:pt x="101" y="93"/>
                </a:lnTo>
                <a:lnTo>
                  <a:pt x="160" y="76"/>
                </a:lnTo>
                <a:close/>
                <a:moveTo>
                  <a:pt x="76" y="643"/>
                </a:moveTo>
                <a:lnTo>
                  <a:pt x="76" y="643"/>
                </a:lnTo>
                <a:lnTo>
                  <a:pt x="55" y="385"/>
                </a:lnTo>
                <a:lnTo>
                  <a:pt x="114" y="389"/>
                </a:lnTo>
                <a:lnTo>
                  <a:pt x="160" y="313"/>
                </a:lnTo>
                <a:lnTo>
                  <a:pt x="228" y="203"/>
                </a:lnTo>
                <a:lnTo>
                  <a:pt x="224" y="275"/>
                </a:lnTo>
                <a:lnTo>
                  <a:pt x="228" y="397"/>
                </a:lnTo>
                <a:lnTo>
                  <a:pt x="317" y="402"/>
                </a:lnTo>
                <a:lnTo>
                  <a:pt x="317" y="34"/>
                </a:lnTo>
                <a:lnTo>
                  <a:pt x="596" y="110"/>
                </a:lnTo>
                <a:lnTo>
                  <a:pt x="575" y="385"/>
                </a:lnTo>
                <a:lnTo>
                  <a:pt x="494" y="389"/>
                </a:lnTo>
                <a:lnTo>
                  <a:pt x="507" y="156"/>
                </a:lnTo>
                <a:lnTo>
                  <a:pt x="410" y="140"/>
                </a:lnTo>
                <a:lnTo>
                  <a:pt x="406" y="397"/>
                </a:lnTo>
                <a:lnTo>
                  <a:pt x="317" y="402"/>
                </a:lnTo>
                <a:lnTo>
                  <a:pt x="317" y="736"/>
                </a:lnTo>
                <a:lnTo>
                  <a:pt x="160" y="676"/>
                </a:lnTo>
                <a:lnTo>
                  <a:pt x="76" y="643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28" name="Группа 27"/>
          <p:cNvGrpSpPr/>
          <p:nvPr userDrawn="1"/>
        </p:nvGrpSpPr>
        <p:grpSpPr>
          <a:xfrm>
            <a:off x="0" y="548203"/>
            <a:ext cx="9888209" cy="33206"/>
            <a:chOff x="0" y="548203"/>
            <a:chExt cx="9888209" cy="33206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5361108" y="548203"/>
              <a:ext cx="4527101" cy="33206"/>
              <a:chOff x="5361108" y="546724"/>
              <a:chExt cx="4527101" cy="33206"/>
            </a:xfrm>
          </p:grpSpPr>
          <p:grpSp>
            <p:nvGrpSpPr>
              <p:cNvPr id="60" name="Группа 59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68" name="Группа 67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7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69" name="Группа 68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70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71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61" name="Группа 60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62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63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30" name="Группа 29"/>
            <p:cNvGrpSpPr/>
            <p:nvPr/>
          </p:nvGrpSpPr>
          <p:grpSpPr>
            <a:xfrm>
              <a:off x="1048040" y="548203"/>
              <a:ext cx="4527101" cy="33206"/>
              <a:chOff x="5361108" y="546724"/>
              <a:chExt cx="4527101" cy="33206"/>
            </a:xfrm>
          </p:grpSpPr>
          <p:grpSp>
            <p:nvGrpSpPr>
              <p:cNvPr id="46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54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55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47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48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49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0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1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31" name="Группа 30"/>
            <p:cNvGrpSpPr/>
            <p:nvPr/>
          </p:nvGrpSpPr>
          <p:grpSpPr>
            <a:xfrm>
              <a:off x="0" y="548203"/>
              <a:ext cx="4527101" cy="33206"/>
              <a:chOff x="5361108" y="546724"/>
              <a:chExt cx="4527101" cy="33206"/>
            </a:xfrm>
          </p:grpSpPr>
          <p:grpSp>
            <p:nvGrpSpPr>
              <p:cNvPr id="32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40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41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33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34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35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</p:grpSp>
      <p:sp>
        <p:nvSpPr>
          <p:cNvPr id="75" name="Заголовок 1"/>
          <p:cNvSpPr txBox="1">
            <a:spLocks/>
          </p:cNvSpPr>
          <p:nvPr userDrawn="1"/>
        </p:nvSpPr>
        <p:spPr>
          <a:xfrm>
            <a:off x="0" y="1927536"/>
            <a:ext cx="12192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0" i="0" u="none" strike="noStrike" kern="1200" cap="none" spc="0" normalizeH="0" baseline="0" noProof="0" smtClean="0">
                <a:ln>
                  <a:noFill/>
                </a:ln>
                <a:solidFill>
                  <a:srgbClr val="2E75B6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СПАСИБО ЗА ВНИМАНИЕ</a:t>
            </a: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srgbClr val="2E75B6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349014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2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1005840"/>
            <a:ext cx="12192000" cy="823910"/>
          </a:xfrm>
          <a:prstGeom prst="rect">
            <a:avLst/>
          </a:prstGeom>
          <a:solidFill>
            <a:srgbClr val="EDF1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 flipH="1">
            <a:off x="2639616" y="96045"/>
            <a:ext cx="9552384" cy="817646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00300" y="96046"/>
            <a:ext cx="8955088" cy="81764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005840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1829751"/>
            <a:ext cx="5157787" cy="444722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005840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1829751"/>
            <a:ext cx="5183188" cy="444722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0282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000356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D63DCCC5-C5C7-4939-A893-4A4DB73304DC}"/>
              </a:ext>
            </a:extLst>
          </p:cNvPr>
          <p:cNvSpPr/>
          <p:nvPr userDrawn="1"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hangingPunct="1"/>
            <a:endParaRPr lang="ru-RU" sz="1800" kern="1200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0421878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04774"/>
            <a:ext cx="10515600" cy="1009651"/>
          </a:xfrm>
        </p:spPr>
        <p:txBody>
          <a:bodyPr/>
          <a:lstStyle>
            <a:lvl1pPr>
              <a:defRPr lang="ru-RU" sz="3200" b="1" kern="1200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 userDrawn="1"/>
        </p:nvCxnSpPr>
        <p:spPr>
          <a:xfrm>
            <a:off x="0" y="1227866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Номер слайда 5"/>
          <p:cNvSpPr txBox="1">
            <a:spLocks/>
          </p:cNvSpPr>
          <p:nvPr userDrawn="1"/>
        </p:nvSpPr>
        <p:spPr>
          <a:xfrm>
            <a:off x="11430000" y="431371"/>
            <a:ext cx="657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5092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04774"/>
            <a:ext cx="10515600" cy="1009651"/>
          </a:xfrm>
        </p:spPr>
        <p:txBody>
          <a:bodyPr/>
          <a:lstStyle>
            <a:lvl1pPr>
              <a:defRPr lang="ru-RU" sz="3200" b="1" kern="1200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 userDrawn="1"/>
        </p:nvCxnSpPr>
        <p:spPr>
          <a:xfrm>
            <a:off x="0" y="1227866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5"/>
          <p:cNvSpPr txBox="1">
            <a:spLocks/>
          </p:cNvSpPr>
          <p:nvPr userDrawn="1"/>
        </p:nvSpPr>
        <p:spPr>
          <a:xfrm>
            <a:off x="11430000" y="431371"/>
            <a:ext cx="657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0759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fld id="{3BD9EBC3-1554-42AE-B388-EFCB1C77785B}" type="datetimeFigureOut">
              <a:rPr lang="ru-RU" sz="1800" kern="1200" smtClean="0">
                <a:solidFill>
                  <a:prstClr val="black"/>
                </a:solidFill>
              </a:rPr>
              <a:pPr algn="l" defTabSz="914400" hangingPunct="1"/>
              <a:t>10.10.2019</a:t>
            </a:fld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216784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7ED3B4AB-2944-4CB8-974F-92CE170CCDE7}"/>
              </a:ext>
            </a:extLst>
          </p:cNvPr>
          <p:cNvSpPr/>
          <p:nvPr userDrawn="1"/>
        </p:nvSpPr>
        <p:spPr>
          <a:xfrm rot="10800000">
            <a:off x="7112000" y="1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hangingPunct="1"/>
            <a:endParaRPr lang="ru-RU" sz="1800" kern="1200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"/>
            <a:ext cx="6060876" cy="1227866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199" y="1409700"/>
            <a:ext cx="6060877" cy="476726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 err="1"/>
              <a:t>Четвертый</a:t>
            </a:r>
            <a:r>
              <a:rPr lang="ru-RU" dirty="0"/>
              <a:t>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219950" y="1409700"/>
            <a:ext cx="4867275" cy="4767263"/>
          </a:xfrm>
        </p:spPr>
        <p:txBody>
          <a:bodyPr>
            <a:normAutofit/>
          </a:bodyPr>
          <a:lstStyle>
            <a:lvl1pPr>
              <a:defRPr lang="ru-RU" sz="1600" b="1" kern="12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lang="ru-RU" sz="1600" b="1" kern="12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lang="ru-RU" sz="1600" b="1" kern="12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lang="ru-RU" sz="1600" b="1" kern="12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lang="ru-RU" sz="1600" b="1" kern="12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 err="1"/>
              <a:t>Четвертый</a:t>
            </a:r>
            <a:r>
              <a:rPr lang="ru-RU" dirty="0"/>
              <a:t>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353799" y="431371"/>
            <a:ext cx="575431" cy="365125"/>
          </a:xfrm>
        </p:spPr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Picture 101" descr="C:\Users\lmartynova\AppData\Local\Microsoft\Windows\Temporary Internet Files\Content.Outlook\59X04JPV\logo_prosveschenie-01 (2)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5876" y="6146394"/>
            <a:ext cx="1473201" cy="60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97000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406316" y="96253"/>
            <a:ext cx="8947484" cy="806115"/>
          </a:xfrm>
        </p:spPr>
        <p:txBody>
          <a:bodyPr/>
          <a:lstStyle>
            <a:lvl1pPr algn="ctr">
              <a:defRPr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005840"/>
            <a:ext cx="10515600" cy="52609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3690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409700"/>
            <a:ext cx="5181600" cy="47672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409700"/>
            <a:ext cx="5181600" cy="47672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fld id="{3BD9EBC3-1554-42AE-B388-EFCB1C77785B}" type="datetimeFigureOut">
              <a:rPr lang="ru-RU" sz="1800" kern="1200" smtClean="0">
                <a:solidFill>
                  <a:prstClr val="black"/>
                </a:solidFill>
              </a:rPr>
              <a:pPr algn="l" defTabSz="914400" hangingPunct="1"/>
              <a:t>10.10.2019</a:t>
            </a:fld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6559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fld id="{3BD9EBC3-1554-42AE-B388-EFCB1C77785B}" type="datetimeFigureOut">
              <a:rPr lang="ru-RU" sz="1800" kern="1200" smtClean="0">
                <a:solidFill>
                  <a:prstClr val="black"/>
                </a:solidFill>
              </a:rPr>
              <a:pPr algn="l" defTabSz="914400" hangingPunct="1"/>
              <a:t>10.10.2019</a:t>
            </a:fld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31221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fld id="{3BD9EBC3-1554-42AE-B388-EFCB1C77785B}" type="datetimeFigureOut">
              <a:rPr lang="ru-RU" sz="1800" kern="1200" smtClean="0">
                <a:solidFill>
                  <a:prstClr val="black"/>
                </a:solidFill>
              </a:rPr>
              <a:pPr algn="l" defTabSz="914400" hangingPunct="1"/>
              <a:t>10.10.2019</a:t>
            </a:fld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3782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000356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D63DCCC5-C5C7-4939-A893-4A4DB73304DC}"/>
              </a:ext>
            </a:extLst>
          </p:cNvPr>
          <p:cNvSpPr/>
          <p:nvPr userDrawn="1"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hangingPunct="1"/>
            <a:endParaRPr lang="ru-RU" sz="1800" kern="1200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0598735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04774"/>
            <a:ext cx="10515600" cy="1009651"/>
          </a:xfrm>
        </p:spPr>
        <p:txBody>
          <a:bodyPr/>
          <a:lstStyle>
            <a:lvl1pPr>
              <a:defRPr lang="ru-RU" sz="3200" b="1" kern="1200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 userDrawn="1"/>
        </p:nvCxnSpPr>
        <p:spPr>
          <a:xfrm>
            <a:off x="0" y="1227866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Номер слайда 5"/>
          <p:cNvSpPr txBox="1">
            <a:spLocks/>
          </p:cNvSpPr>
          <p:nvPr userDrawn="1"/>
        </p:nvSpPr>
        <p:spPr>
          <a:xfrm>
            <a:off x="11430000" y="431371"/>
            <a:ext cx="657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43405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04774"/>
            <a:ext cx="10515600" cy="1009651"/>
          </a:xfrm>
        </p:spPr>
        <p:txBody>
          <a:bodyPr/>
          <a:lstStyle>
            <a:lvl1pPr>
              <a:defRPr lang="ru-RU" sz="3200" b="1" kern="1200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 userDrawn="1"/>
        </p:nvCxnSpPr>
        <p:spPr>
          <a:xfrm>
            <a:off x="0" y="1227866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5"/>
          <p:cNvSpPr txBox="1">
            <a:spLocks/>
          </p:cNvSpPr>
          <p:nvPr userDrawn="1"/>
        </p:nvSpPr>
        <p:spPr>
          <a:xfrm>
            <a:off x="11430000" y="431371"/>
            <a:ext cx="657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0204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fld id="{3BD9EBC3-1554-42AE-B388-EFCB1C77785B}" type="datetimeFigureOut">
              <a:rPr lang="ru-RU" sz="1800" kern="1200" smtClean="0">
                <a:solidFill>
                  <a:prstClr val="black"/>
                </a:solidFill>
              </a:rPr>
              <a:pPr algn="l" defTabSz="914400" hangingPunct="1"/>
              <a:t>10.10.2019</a:t>
            </a:fld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8307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7ED3B4AB-2944-4CB8-974F-92CE170CCDE7}"/>
              </a:ext>
            </a:extLst>
          </p:cNvPr>
          <p:cNvSpPr/>
          <p:nvPr userDrawn="1"/>
        </p:nvSpPr>
        <p:spPr>
          <a:xfrm rot="10800000">
            <a:off x="7112000" y="1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hangingPunct="1"/>
            <a:endParaRPr lang="ru-RU" sz="1800" kern="1200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"/>
            <a:ext cx="6060876" cy="1227866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199" y="1409700"/>
            <a:ext cx="6060877" cy="476726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 err="1"/>
              <a:t>Четвертый</a:t>
            </a:r>
            <a:r>
              <a:rPr lang="ru-RU" dirty="0"/>
              <a:t>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219950" y="1409700"/>
            <a:ext cx="4867275" cy="4767263"/>
          </a:xfrm>
        </p:spPr>
        <p:txBody>
          <a:bodyPr>
            <a:normAutofit/>
          </a:bodyPr>
          <a:lstStyle>
            <a:lvl1pPr>
              <a:defRPr lang="ru-RU" sz="1600" b="1" kern="12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lang="ru-RU" sz="1600" b="1" kern="12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lang="ru-RU" sz="1600" b="1" kern="12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lang="ru-RU" sz="1600" b="1" kern="12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lang="ru-RU" sz="1600" b="1" kern="12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 err="1"/>
              <a:t>Четвертый</a:t>
            </a:r>
            <a:r>
              <a:rPr lang="ru-RU" dirty="0"/>
              <a:t>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353799" y="431371"/>
            <a:ext cx="575431" cy="365125"/>
          </a:xfrm>
        </p:spPr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Picture 101" descr="C:\Users\lmartynova\AppData\Local\Microsoft\Windows\Temporary Internet Files\Content.Outlook\59X04JPV\logo_prosveschenie-01 (2)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5876" y="6146394"/>
            <a:ext cx="1473201" cy="60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69194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409700"/>
            <a:ext cx="5181600" cy="47672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409700"/>
            <a:ext cx="5181600" cy="47672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fld id="{3BD9EBC3-1554-42AE-B388-EFCB1C77785B}" type="datetimeFigureOut">
              <a:rPr lang="ru-RU" sz="1800" kern="1200" smtClean="0">
                <a:solidFill>
                  <a:prstClr val="black"/>
                </a:solidFill>
              </a:rPr>
              <a:pPr algn="l" defTabSz="914400" hangingPunct="1"/>
              <a:t>10.10.2019</a:t>
            </a:fld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6563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fld id="{3BD9EBC3-1554-42AE-B388-EFCB1C77785B}" type="datetimeFigureOut">
              <a:rPr lang="ru-RU" sz="1800" kern="1200" smtClean="0">
                <a:solidFill>
                  <a:prstClr val="black"/>
                </a:solidFill>
              </a:rPr>
              <a:pPr algn="l" defTabSz="914400" hangingPunct="1"/>
              <a:t>10.10.2019</a:t>
            </a:fld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6653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6968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fld id="{3BD9EBC3-1554-42AE-B388-EFCB1C77785B}" type="datetimeFigureOut">
              <a:rPr lang="ru-RU" sz="1800" kern="1200" smtClean="0">
                <a:solidFill>
                  <a:prstClr val="black"/>
                </a:solidFill>
              </a:rPr>
              <a:pPr algn="l" defTabSz="914400" hangingPunct="1"/>
              <a:t>10.10.2019</a:t>
            </a:fld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0745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000356.jpg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D63DCCC5-C5C7-4939-A893-4A4DB73304DC}"/>
              </a:ext>
            </a:extLst>
          </p:cNvPr>
          <p:cNvSpPr/>
          <p:nvPr userDrawn="1"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hangingPunct="1"/>
            <a:endParaRPr lang="ru-RU" sz="1800" kern="1200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537156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04774"/>
            <a:ext cx="10515600" cy="1009651"/>
          </a:xfrm>
        </p:spPr>
        <p:txBody>
          <a:bodyPr/>
          <a:lstStyle>
            <a:lvl1pPr>
              <a:defRPr lang="ru-RU" sz="3200" b="1" kern="1200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 userDrawn="1"/>
        </p:nvCxnSpPr>
        <p:spPr>
          <a:xfrm>
            <a:off x="0" y="1227866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C:\Users\lmartynova\AppData\Local\Microsoft\Windows\Temporary Internet Files\Content.Outlook\59X04JPV\Лого (3)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36311" y="6223438"/>
            <a:ext cx="1392920" cy="467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Номер слайда 5"/>
          <p:cNvSpPr txBox="1">
            <a:spLocks/>
          </p:cNvSpPr>
          <p:nvPr userDrawn="1"/>
        </p:nvSpPr>
        <p:spPr>
          <a:xfrm>
            <a:off x="11430000" y="431371"/>
            <a:ext cx="657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1212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04774"/>
            <a:ext cx="10515600" cy="1009651"/>
          </a:xfrm>
        </p:spPr>
        <p:txBody>
          <a:bodyPr/>
          <a:lstStyle>
            <a:lvl1pPr>
              <a:defRPr lang="ru-RU" sz="3200" b="1" kern="1200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 userDrawn="1"/>
        </p:nvCxnSpPr>
        <p:spPr>
          <a:xfrm>
            <a:off x="0" y="1227866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5"/>
          <p:cNvSpPr txBox="1">
            <a:spLocks/>
          </p:cNvSpPr>
          <p:nvPr userDrawn="1"/>
        </p:nvSpPr>
        <p:spPr>
          <a:xfrm>
            <a:off x="11430000" y="431371"/>
            <a:ext cx="657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087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fld id="{3BD9EBC3-1554-42AE-B388-EFCB1C77785B}" type="datetimeFigureOut">
              <a:rPr lang="ru-RU" sz="1800" kern="1200" smtClean="0">
                <a:solidFill>
                  <a:prstClr val="black"/>
                </a:solidFill>
              </a:rPr>
              <a:pPr algn="l" defTabSz="914400" hangingPunct="1"/>
              <a:t>10.10.2019</a:t>
            </a:fld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2757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7ED3B4AB-2944-4CB8-974F-92CE170CCDE7}"/>
              </a:ext>
            </a:extLst>
          </p:cNvPr>
          <p:cNvSpPr/>
          <p:nvPr userDrawn="1"/>
        </p:nvSpPr>
        <p:spPr>
          <a:xfrm rot="10800000">
            <a:off x="7112000" y="1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hangingPunct="1"/>
            <a:endParaRPr lang="ru-RU" sz="1800" kern="1200" dirty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"/>
            <a:ext cx="6060876" cy="1227866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199" y="1409700"/>
            <a:ext cx="6060877" cy="476726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 err="1"/>
              <a:t>Четвертый</a:t>
            </a:r>
            <a:r>
              <a:rPr lang="ru-RU" dirty="0"/>
              <a:t>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219950" y="1409700"/>
            <a:ext cx="4867275" cy="4767263"/>
          </a:xfrm>
        </p:spPr>
        <p:txBody>
          <a:bodyPr>
            <a:normAutofit/>
          </a:bodyPr>
          <a:lstStyle>
            <a:lvl1pPr>
              <a:defRPr lang="ru-RU" sz="1600" b="1" kern="12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 lang="ru-RU" sz="1600" b="1" kern="12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 lang="ru-RU" sz="1600" b="1" kern="12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 lang="ru-RU" sz="1600" b="1" kern="12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 lang="ru-RU" sz="1600" b="1" kern="12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 err="1"/>
              <a:t>Четвертый</a:t>
            </a:r>
            <a:r>
              <a:rPr lang="ru-RU" dirty="0"/>
              <a:t>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1353799" y="431371"/>
            <a:ext cx="575431" cy="365125"/>
          </a:xfrm>
        </p:spPr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Picture 101" descr="C:\Users\lmartynova\AppData\Local\Microsoft\Windows\Temporary Internet Files\Content.Outlook\59X04JPV\logo_prosveschenie-01 (2)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5876" y="6146394"/>
            <a:ext cx="1473201" cy="60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21346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409700"/>
            <a:ext cx="5181600" cy="47672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409700"/>
            <a:ext cx="5181600" cy="47672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fld id="{3BD9EBC3-1554-42AE-B388-EFCB1C77785B}" type="datetimeFigureOut">
              <a:rPr lang="ru-RU" sz="1800" kern="1200" smtClean="0">
                <a:solidFill>
                  <a:prstClr val="black"/>
                </a:solidFill>
              </a:rPr>
              <a:pPr algn="l" defTabSz="914400" hangingPunct="1"/>
              <a:t>10.10.2019</a:t>
            </a:fld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435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fld id="{3BD9EBC3-1554-42AE-B388-EFCB1C77785B}" type="datetimeFigureOut">
              <a:rPr lang="ru-RU" sz="1800" kern="1200" smtClean="0">
                <a:solidFill>
                  <a:prstClr val="black"/>
                </a:solidFill>
              </a:rPr>
              <a:pPr algn="l" defTabSz="914400" hangingPunct="1"/>
              <a:t>10.10.2019</a:t>
            </a:fld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45374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fld id="{3BD9EBC3-1554-42AE-B388-EFCB1C77785B}" type="datetimeFigureOut">
              <a:rPr lang="ru-RU" sz="1800" kern="1200" smtClean="0">
                <a:solidFill>
                  <a:prstClr val="black"/>
                </a:solidFill>
              </a:rPr>
              <a:pPr algn="l" defTabSz="914400" hangingPunct="1"/>
              <a:t>10.10.2019</a:t>
            </a:fld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pPr algn="l" defTabSz="914400" hangingPunct="1"/>
            <a:endParaRPr lang="ru-RU" sz="1800" kern="1200" dirty="0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0830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1005840"/>
            <a:ext cx="12192000" cy="1645920"/>
          </a:xfrm>
          <a:prstGeom prst="rect">
            <a:avLst/>
          </a:prstGeom>
          <a:solidFill>
            <a:srgbClr val="EDF1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51026" y="96046"/>
            <a:ext cx="9002774" cy="817646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005840"/>
            <a:ext cx="5181600" cy="517112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005840"/>
            <a:ext cx="5181600" cy="517112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7519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о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1005840"/>
            <a:ext cx="12192000" cy="1645920"/>
          </a:xfrm>
          <a:prstGeom prst="rect">
            <a:avLst/>
          </a:prstGeom>
          <a:solidFill>
            <a:srgbClr val="EDF1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51026" y="96046"/>
            <a:ext cx="9002774" cy="817646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Объект 2"/>
          <p:cNvSpPr>
            <a:spLocks noGrp="1"/>
          </p:cNvSpPr>
          <p:nvPr>
            <p:ph idx="1"/>
          </p:nvPr>
        </p:nvSpPr>
        <p:spPr>
          <a:xfrm>
            <a:off x="838200" y="1005840"/>
            <a:ext cx="10515600" cy="52609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0511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ов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1005840"/>
            <a:ext cx="12192000" cy="1645920"/>
          </a:xfrm>
          <a:prstGeom prst="rect">
            <a:avLst/>
          </a:prstGeom>
          <a:solidFill>
            <a:srgbClr val="EDF1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51026" y="96046"/>
            <a:ext cx="9002774" cy="817646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3483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 flipH="1">
            <a:off x="2639616" y="96045"/>
            <a:ext cx="9552384" cy="817646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00300" y="96046"/>
            <a:ext cx="8955088" cy="81764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405447"/>
            <a:ext cx="5157787" cy="378914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Текст 2"/>
          <p:cNvSpPr>
            <a:spLocks noGrp="1"/>
          </p:cNvSpPr>
          <p:nvPr>
            <p:ph type="body" idx="1"/>
          </p:nvPr>
        </p:nvSpPr>
        <p:spPr>
          <a:xfrm>
            <a:off x="839788" y="129398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98883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 flipH="1">
            <a:off x="2639616" y="96045"/>
            <a:ext cx="9552384" cy="817646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00300" y="96046"/>
            <a:ext cx="8955088" cy="81764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405447"/>
            <a:ext cx="5183188" cy="378914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29398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8451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0508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9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18.xml"/><Relationship Id="rId9" Type="http://schemas.openxmlformats.org/officeDocument/2006/relationships/theme" Target="../theme/theme2.xml"/><Relationship Id="rId14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27.xml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26.xml"/><Relationship Id="rId9" Type="http://schemas.openxmlformats.org/officeDocument/2006/relationships/theme" Target="../theme/theme3.xml"/><Relationship Id="rId14" Type="http://schemas.openxmlformats.org/officeDocument/2006/relationships/image" Target="../media/image4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35.xml"/><Relationship Id="rId10" Type="http://schemas.openxmlformats.org/officeDocument/2006/relationships/vmlDrawing" Target="../drawings/vmlDrawing3.vml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4.xml"/><Relationship Id="rId14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005840"/>
            <a:ext cx="10515600" cy="51711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омер слайда 5"/>
          <p:cNvSpPr txBox="1">
            <a:spLocks/>
          </p:cNvSpPr>
          <p:nvPr userDrawn="1"/>
        </p:nvSpPr>
        <p:spPr>
          <a:xfrm>
            <a:off x="11019791" y="6200878"/>
            <a:ext cx="682923" cy="345423"/>
          </a:xfrm>
          <a:prstGeom prst="rect">
            <a:avLst/>
          </a:prstGeom>
        </p:spPr>
        <p:txBody>
          <a:bodyPr vert="horz" lIns="78230" tIns="39115" rIns="78230" bIns="39115" rtlCol="0" anchor="ctr"/>
          <a:lstStyle>
            <a:defPPr>
              <a:defRPr lang="ru-RU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2821BB2-611B-492C-B73E-32A514CCECF5}" type="slidenum">
              <a:rPr lang="ru-RU" sz="1350" b="1" smtClean="0">
                <a:solidFill>
                  <a:prstClr val="black">
                    <a:tint val="75000"/>
                  </a:prstClr>
                </a:solidFill>
              </a:rPr>
              <a:pPr algn="ctr"/>
              <a:t>‹#›</a:t>
            </a:fld>
            <a:endParaRPr lang="ru-RU" sz="105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 flipH="1">
            <a:off x="0" y="97974"/>
            <a:ext cx="12192000" cy="8599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 flipH="1">
            <a:off x="2639616" y="96045"/>
            <a:ext cx="9552384" cy="817646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2068286" y="192428"/>
            <a:ext cx="2050" cy="626298"/>
          </a:xfrm>
          <a:prstGeom prst="line">
            <a:avLst/>
          </a:prstGeom>
          <a:ln>
            <a:solidFill>
              <a:srgbClr val="2947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Группа 44"/>
          <p:cNvGrpSpPr/>
          <p:nvPr userDrawn="1"/>
        </p:nvGrpSpPr>
        <p:grpSpPr>
          <a:xfrm>
            <a:off x="316597" y="256608"/>
            <a:ext cx="1440066" cy="497938"/>
            <a:chOff x="338369" y="163286"/>
            <a:chExt cx="1440066" cy="497938"/>
          </a:xfrm>
        </p:grpSpPr>
        <p:sp>
          <p:nvSpPr>
            <p:cNvPr id="15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30" name="Рисунок 29" descr="line.jpg"/>
          <p:cNvPicPr>
            <a:picLocks noChangeAspect="1"/>
          </p:cNvPicPr>
          <p:nvPr userDrawn="1"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>
          <a:xfrm rot="10800000">
            <a:off x="-1" y="6790649"/>
            <a:ext cx="12192001" cy="6735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51026" y="96046"/>
            <a:ext cx="9002774" cy="8176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2478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11" r:id="rId5"/>
    <p:sldLayoutId id="2147483712" r:id="rId6"/>
    <p:sldLayoutId id="2147483704" r:id="rId7"/>
    <p:sldLayoutId id="2147483713" r:id="rId8"/>
    <p:sldLayoutId id="2147483705" r:id="rId9"/>
    <p:sldLayoutId id="2147483706" r:id="rId10"/>
    <p:sldLayoutId id="2147483716" r:id="rId11"/>
    <p:sldLayoutId id="2147483717" r:id="rId12"/>
    <p:sldLayoutId id="2147483720" r:id="rId13"/>
    <p:sldLayoutId id="2147483721" r:id="rId1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ru-RU" sz="2300" b="1" kern="1200" spc="-40" dirty="0">
          <a:solidFill>
            <a:srgbClr val="294790"/>
          </a:solidFill>
          <a:latin typeface="Calibri" pitchFamily="34" charset="0"/>
          <a:ea typeface="+mn-ea"/>
          <a:cs typeface="+mn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62185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Слайд think-cell" r:id="rId13" imgW="359" imgH="360" progId="TCLayout.ActiveDocument.1">
                  <p:embed/>
                </p:oleObj>
              </mc:Choice>
              <mc:Fallback>
                <p:oleObj name="Слайд think-cell" r:id="rId1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defTabSz="914400" hangingPunct="1"/>
            <a:endParaRPr lang="ru-RU" sz="4400" kern="12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71449"/>
            <a:ext cx="10515600" cy="9715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409700"/>
            <a:ext cx="10515600" cy="47672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39524" y="431371"/>
            <a:ext cx="657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hangingPunct="1"/>
            <a:fld id="{4CB9B150-16F9-4654-A9FF-3F04349E5D0B}" type="slidenum">
              <a:rPr lang="ru-RU" kern="1200" smtClean="0">
                <a:solidFill>
                  <a:prstClr val="black">
                    <a:tint val="75000"/>
                  </a:prstClr>
                </a:solidFill>
              </a:rPr>
              <a:pPr defTabSz="914400" hangingPunct="1"/>
              <a:t>‹#›</a:t>
            </a:fld>
            <a:endParaRPr lang="ru-RU" kern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3532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ru-RU" sz="3200" b="1" kern="1200" spc="-40">
          <a:gradFill>
            <a:gsLst>
              <a:gs pos="88000">
                <a:srgbClr val="00B0F0"/>
              </a:gs>
              <a:gs pos="0">
                <a:srgbClr val="2D2B8D"/>
              </a:gs>
            </a:gsLst>
            <a:lin ang="2400000" scaled="0"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63120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Слайд think-cell" r:id="rId13" imgW="359" imgH="360" progId="TCLayout.ActiveDocument.1">
                  <p:embed/>
                </p:oleObj>
              </mc:Choice>
              <mc:Fallback>
                <p:oleObj name="Слайд think-cell" r:id="rId1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defTabSz="914400" hangingPunct="1"/>
            <a:endParaRPr lang="ru-RU" sz="4400" kern="12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71449"/>
            <a:ext cx="10515600" cy="9715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409700"/>
            <a:ext cx="10515600" cy="47672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39524" y="431371"/>
            <a:ext cx="657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hangingPunct="1"/>
            <a:fld id="{4CB9B150-16F9-4654-A9FF-3F04349E5D0B}" type="slidenum">
              <a:rPr lang="ru-RU" kern="1200" smtClean="0">
                <a:solidFill>
                  <a:prstClr val="black">
                    <a:tint val="75000"/>
                  </a:prstClr>
                </a:solidFill>
              </a:rPr>
              <a:pPr defTabSz="914400" hangingPunct="1"/>
              <a:t>‹#›</a:t>
            </a:fld>
            <a:endParaRPr lang="ru-RU" kern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012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ru-RU" sz="3200" b="1" kern="1200" spc="-40">
          <a:gradFill>
            <a:gsLst>
              <a:gs pos="88000">
                <a:srgbClr val="00B0F0"/>
              </a:gs>
              <a:gs pos="0">
                <a:srgbClr val="2D2B8D"/>
              </a:gs>
            </a:gsLst>
            <a:lin ang="2400000" scaled="0"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60275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Слайд think-cell" r:id="rId13" imgW="359" imgH="360" progId="TCLayout.ActiveDocument.1">
                  <p:embed/>
                </p:oleObj>
              </mc:Choice>
              <mc:Fallback>
                <p:oleObj name="Слайд think-cell" r:id="rId13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defTabSz="914400" hangingPunct="1"/>
            <a:endParaRPr lang="ru-RU" sz="4400" kern="12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71449"/>
            <a:ext cx="10515600" cy="9715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409700"/>
            <a:ext cx="10515600" cy="47672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439524" y="431371"/>
            <a:ext cx="657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hangingPunct="1"/>
            <a:fld id="{4CB9B150-16F9-4654-A9FF-3F04349E5D0B}" type="slidenum">
              <a:rPr lang="ru-RU" kern="1200" smtClean="0">
                <a:solidFill>
                  <a:prstClr val="black">
                    <a:tint val="75000"/>
                  </a:prstClr>
                </a:solidFill>
              </a:rPr>
              <a:pPr defTabSz="914400" hangingPunct="1"/>
              <a:t>‹#›</a:t>
            </a:fld>
            <a:endParaRPr lang="ru-RU" kern="120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3062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ru-RU" sz="3200" b="1" kern="1200" spc="-40">
          <a:gradFill>
            <a:gsLst>
              <a:gs pos="88000">
                <a:srgbClr val="00B0F0"/>
              </a:gs>
              <a:gs pos="0">
                <a:srgbClr val="2D2B8D"/>
              </a:gs>
            </a:gsLst>
            <a:lin ang="2400000" scaled="0"/>
          </a:gra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3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4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image" Target="../media/image59.jpeg"/><Relationship Id="rId18" Type="http://schemas.openxmlformats.org/officeDocument/2006/relationships/image" Target="../media/image64.png"/><Relationship Id="rId3" Type="http://schemas.openxmlformats.org/officeDocument/2006/relationships/image" Target="../media/image54.png"/><Relationship Id="rId21" Type="http://schemas.openxmlformats.org/officeDocument/2006/relationships/image" Target="../media/image67.png"/><Relationship Id="rId7" Type="http://schemas.openxmlformats.org/officeDocument/2006/relationships/image" Target="../media/image58.jpeg"/><Relationship Id="rId12" Type="http://schemas.microsoft.com/office/2007/relationships/diagramDrawing" Target="../diagrams/drawing1.xml"/><Relationship Id="rId17" Type="http://schemas.openxmlformats.org/officeDocument/2006/relationships/image" Target="../media/image63.pn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62.png"/><Relationship Id="rId20" Type="http://schemas.openxmlformats.org/officeDocument/2006/relationships/image" Target="../media/image66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57.jpeg"/><Relationship Id="rId11" Type="http://schemas.openxmlformats.org/officeDocument/2006/relationships/diagramColors" Target="../diagrams/colors1.xml"/><Relationship Id="rId5" Type="http://schemas.openxmlformats.org/officeDocument/2006/relationships/image" Target="../media/image56.jpeg"/><Relationship Id="rId15" Type="http://schemas.openxmlformats.org/officeDocument/2006/relationships/image" Target="../media/image61.png"/><Relationship Id="rId10" Type="http://schemas.openxmlformats.org/officeDocument/2006/relationships/diagramQuickStyle" Target="../diagrams/quickStyle1.xml"/><Relationship Id="rId19" Type="http://schemas.openxmlformats.org/officeDocument/2006/relationships/image" Target="../media/image65.png"/><Relationship Id="rId4" Type="http://schemas.openxmlformats.org/officeDocument/2006/relationships/image" Target="../media/image55.jpeg"/><Relationship Id="rId9" Type="http://schemas.openxmlformats.org/officeDocument/2006/relationships/diagramLayout" Target="../diagrams/layout1.xml"/><Relationship Id="rId14" Type="http://schemas.openxmlformats.org/officeDocument/2006/relationships/image" Target="../media/image60.jpeg"/><Relationship Id="rId22" Type="http://schemas.openxmlformats.org/officeDocument/2006/relationships/image" Target="../media/image6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1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3" Type="http://schemas.openxmlformats.org/officeDocument/2006/relationships/image" Target="../media/image69.png"/><Relationship Id="rId7" Type="http://schemas.openxmlformats.org/officeDocument/2006/relationships/image" Target="../media/image7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4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4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4.png"/></Relationships>
</file>

<file path=ppt/slides/_rels/slide3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79.pn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9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Relationship Id="rId9" Type="http://schemas.openxmlformats.org/officeDocument/2006/relationships/image" Target="../media/image7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74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0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9.jpeg"/><Relationship Id="rId3" Type="http://schemas.openxmlformats.org/officeDocument/2006/relationships/hyperlink" Target="https://shop.prosv.ru/texnologiya--rabochie-programmy--5-9-klassy3036" TargetMode="External"/><Relationship Id="rId7" Type="http://schemas.openxmlformats.org/officeDocument/2006/relationships/image" Target="../media/image13.jpeg"/><Relationship Id="rId12" Type="http://schemas.openxmlformats.org/officeDocument/2006/relationships/image" Target="../media/image1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Relationship Id="rId6" Type="http://schemas.openxmlformats.org/officeDocument/2006/relationships/hyperlink" Target="http://mycareer.prosv.ru/" TargetMode="External"/><Relationship Id="rId11" Type="http://schemas.openxmlformats.org/officeDocument/2006/relationships/image" Target="../media/image17.jpeg"/><Relationship Id="rId5" Type="http://schemas.openxmlformats.org/officeDocument/2006/relationships/hyperlink" Target="https://shop.prosv.ru/texnologiya--metodicheskoe-posobie--5-9-klassy11238" TargetMode="External"/><Relationship Id="rId10" Type="http://schemas.openxmlformats.org/officeDocument/2006/relationships/image" Target="../media/image16.jpeg"/><Relationship Id="rId4" Type="http://schemas.openxmlformats.org/officeDocument/2006/relationships/hyperlink" Target="http://technology.prosv.ru/umk/3.html" TargetMode="External"/><Relationship Id="rId9" Type="http://schemas.openxmlformats.org/officeDocument/2006/relationships/image" Target="../media/image15.jpeg"/><Relationship Id="rId14" Type="http://schemas.openxmlformats.org/officeDocument/2006/relationships/image" Target="../media/image20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96.pn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98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00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11" Type="http://schemas.openxmlformats.org/officeDocument/2006/relationships/image" Target="../media/image11.svg"/><Relationship Id="rId5" Type="http://schemas.openxmlformats.org/officeDocument/2006/relationships/image" Target="../media/image23.png"/><Relationship Id="rId4" Type="http://schemas.openxmlformats.org/officeDocument/2006/relationships/image" Target="../media/image22.jpe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6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16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16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05.png"/><Relationship Id="rId4" Type="http://schemas.openxmlformats.org/officeDocument/2006/relationships/image" Target="../media/image104.jpe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8" Type="http://schemas.openxmlformats.org/officeDocument/2006/relationships/image" Target="../media/image26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24.png"/><Relationship Id="rId17" Type="http://schemas.openxmlformats.org/officeDocument/2006/relationships/image" Target="../media/image15.jpeg"/><Relationship Id="rId2" Type="http://schemas.openxmlformats.org/officeDocument/2006/relationships/tags" Target="../tags/tag9.xml"/><Relationship Id="rId16" Type="http://schemas.openxmlformats.org/officeDocument/2006/relationships/image" Target="../media/image13.jpeg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15" Type="http://schemas.openxmlformats.org/officeDocument/2006/relationships/image" Target="../media/image25.png"/><Relationship Id="rId4" Type="http://schemas.openxmlformats.org/officeDocument/2006/relationships/notesSlide" Target="../notesSlides/notesSlide7.xml"/><Relationship Id="rId14" Type="http://schemas.openxmlformats.org/officeDocument/2006/relationships/image" Target="../media/image15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4.emf"/><Relationship Id="rId17" Type="http://schemas.openxmlformats.org/officeDocument/2006/relationships/image" Target="../media/image14.jpeg"/><Relationship Id="rId2" Type="http://schemas.openxmlformats.org/officeDocument/2006/relationships/tags" Target="../tags/tag10.xml"/><Relationship Id="rId16" Type="http://schemas.openxmlformats.org/officeDocument/2006/relationships/image" Target="../media/image29.png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27.jpeg"/><Relationship Id="rId15" Type="http://schemas.openxmlformats.org/officeDocument/2006/relationships/image" Target="../media/image28.png"/><Relationship Id="rId4" Type="http://schemas.openxmlformats.org/officeDocument/2006/relationships/notesSlide" Target="../notesSlides/notesSlide8.xml"/><Relationship Id="rId14" Type="http://schemas.openxmlformats.org/officeDocument/2006/relationships/image" Target="../media/image15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4.emf"/><Relationship Id="rId17" Type="http://schemas.openxmlformats.org/officeDocument/2006/relationships/image" Target="../media/image16.jpeg"/><Relationship Id="rId2" Type="http://schemas.openxmlformats.org/officeDocument/2006/relationships/tags" Target="../tags/tag11.xml"/><Relationship Id="rId16" Type="http://schemas.openxmlformats.org/officeDocument/2006/relationships/image" Target="../media/image14.jpeg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30.png"/><Relationship Id="rId15" Type="http://schemas.openxmlformats.org/officeDocument/2006/relationships/image" Target="../media/image31.png"/><Relationship Id="rId4" Type="http://schemas.openxmlformats.org/officeDocument/2006/relationships/notesSlide" Target="../notesSlides/notesSlide9.xml"/><Relationship Id="rId14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3280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30646" y="659425"/>
            <a:ext cx="11763558" cy="2387600"/>
          </a:xfrm>
        </p:spPr>
        <p:txBody>
          <a:bodyPr anchor="ctr">
            <a:noAutofit/>
          </a:bodyPr>
          <a:lstStyle/>
          <a:p>
            <a:r>
              <a:rPr lang="ru-RU" sz="4000" b="0" dirty="0">
                <a:solidFill>
                  <a:schemeClr val="bg1"/>
                </a:solidFill>
              </a:rPr>
              <a:t>МОДЕРНИЗАЦИЯ ТЕХНОЛОГИЧЕСКОГО ОБРАЗОВАНИЯ В УСЛОВИЯ РЕАЛИЗАЦИИ ПРЕДМЕТНОЙ КОНЦЕПЦИИ И НАЦИОНАЛЬНОГО ПРОЕКТА «ОБРАЗОВАНИЕ»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30646" y="2923132"/>
            <a:ext cx="4674729" cy="782025"/>
          </a:xfrm>
        </p:spPr>
        <p:txBody>
          <a:bodyPr anchor="ctr">
            <a:normAutofit fontScale="92500" lnSpcReduction="10000"/>
          </a:bodyPr>
          <a:lstStyle/>
          <a:p>
            <a:pPr algn="l"/>
            <a:r>
              <a:rPr lang="ru-RU" dirty="0" smtClean="0">
                <a:solidFill>
                  <a:schemeClr val="bg1"/>
                </a:solidFill>
                <a:latin typeface="+mj-lt"/>
              </a:rPr>
              <a:t>Реализуем национальный проект «Образование» вместе</a:t>
            </a:r>
            <a:endParaRPr lang="ru-R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=""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5930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ИКО </a:t>
            </a:r>
            <a:r>
              <a:rPr lang="ru-RU" dirty="0"/>
              <a:t>по технологи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9220" name="Picture 4" descr="http://technology.prosv.ru/_data/news/114/prikaz_84_1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8300" y="1409700"/>
            <a:ext cx="3930632" cy="53166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http://technology.prosv.ru/_data/news/114/grafik_k_prikaz_84_str3_2.pn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4701"/>
          <a:stretch/>
        </p:blipFill>
        <p:spPr bwMode="auto">
          <a:xfrm>
            <a:off x="3609825" y="2184400"/>
            <a:ext cx="8271015" cy="45419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 descr="http://633.gbou.ru/wp-content/uploads/2015/10/1231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24600" y="1409700"/>
            <a:ext cx="3505200" cy="1277782"/>
          </a:xfrm>
          <a:prstGeom prst="rect">
            <a:avLst/>
          </a:prstGeom>
          <a:noFill/>
          <a:ln w="28575">
            <a:solidFill>
              <a:srgbClr val="2E75B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4459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Группа 11"/>
          <p:cNvGrpSpPr/>
          <p:nvPr/>
        </p:nvGrpSpPr>
        <p:grpSpPr>
          <a:xfrm>
            <a:off x="3082416" y="1262893"/>
            <a:ext cx="936000" cy="936000"/>
            <a:chOff x="797410" y="912402"/>
            <a:chExt cx="936000" cy="936000"/>
          </a:xfrm>
        </p:grpSpPr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xmlns="" id="{2EF426BB-FC3B-4A1D-9874-257B372DD233}"/>
                </a:ext>
              </a:extLst>
            </p:cNvPr>
            <p:cNvSpPr/>
            <p:nvPr/>
          </p:nvSpPr>
          <p:spPr>
            <a:xfrm>
              <a:off x="797410" y="912402"/>
              <a:ext cx="936000" cy="936000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defTabSz="914400" hangingPunct="1"/>
              <a:endParaRPr lang="ru-RU" sz="2800" kern="12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xmlns="" id="{5F3C698A-7E61-48BE-9F93-63FA2F4A3DC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633" y="1078625"/>
              <a:ext cx="603555" cy="603555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спех каждого </a:t>
            </a:r>
            <a:r>
              <a:rPr lang="ru-RU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бёнка</a:t>
            </a:r>
            <a:endParaRPr lang="ru-RU" b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199" y="2081719"/>
            <a:ext cx="6060877" cy="430501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3500" b="1" dirty="0" smtClean="0">
              <a:latin typeface="+mj-lt"/>
            </a:endParaRPr>
          </a:p>
          <a:p>
            <a:pPr marL="0" indent="0">
              <a:buNone/>
            </a:pPr>
            <a:r>
              <a:rPr lang="ru-RU" sz="3500" b="1" dirty="0" smtClean="0">
                <a:latin typeface="+mj-lt"/>
              </a:rPr>
              <a:t>Задача </a:t>
            </a:r>
            <a:r>
              <a:rPr lang="ru-RU" sz="3500" b="1" dirty="0">
                <a:latin typeface="+mj-lt"/>
              </a:rPr>
              <a:t>проекта</a:t>
            </a:r>
            <a:r>
              <a:rPr lang="ru-RU" sz="3500" b="1" dirty="0" smtClean="0">
                <a:latin typeface="+mj-lt"/>
              </a:rPr>
              <a:t>:</a:t>
            </a:r>
            <a:endParaRPr lang="ru-RU" sz="3500" b="1" dirty="0">
              <a:latin typeface="+mj-lt"/>
            </a:endParaRPr>
          </a:p>
          <a:p>
            <a:r>
              <a:rPr lang="ru-RU" sz="2400" dirty="0">
                <a:latin typeface="+mj-lt"/>
              </a:rPr>
              <a:t>формирование эффективной системы выявления, поддержки и развития способностей и талантов у детей и </a:t>
            </a:r>
            <a:r>
              <a:rPr lang="ru-RU" sz="2400" dirty="0" err="1">
                <a:latin typeface="+mj-lt"/>
              </a:rPr>
              <a:t>молодежи</a:t>
            </a:r>
            <a:r>
              <a:rPr lang="ru-RU" sz="2400" dirty="0">
                <a:latin typeface="+mj-lt"/>
              </a:rPr>
              <a:t>, направленной на </a:t>
            </a:r>
            <a:r>
              <a:rPr lang="ru-RU" sz="2400" dirty="0">
                <a:solidFill>
                  <a:srgbClr val="E22A8B"/>
                </a:solidFill>
                <a:latin typeface="+mj-lt"/>
              </a:rPr>
              <a:t>самоопределение </a:t>
            </a:r>
            <a:r>
              <a:rPr lang="ru-RU" sz="2400" dirty="0" smtClean="0">
                <a:solidFill>
                  <a:srgbClr val="E22A8B"/>
                </a:solidFill>
                <a:latin typeface="+mj-lt"/>
              </a:rPr>
              <a:t>и профессиональную </a:t>
            </a:r>
            <a:r>
              <a:rPr lang="ru-RU" sz="2400" dirty="0">
                <a:solidFill>
                  <a:srgbClr val="E22A8B"/>
                </a:solidFill>
                <a:latin typeface="+mj-lt"/>
              </a:rPr>
              <a:t>ориентацию</a:t>
            </a:r>
            <a:r>
              <a:rPr lang="ru-RU" sz="2400" dirty="0">
                <a:latin typeface="+mj-lt"/>
              </a:rPr>
              <a:t> всех обучающихся</a:t>
            </a:r>
            <a:r>
              <a:rPr lang="ru-RU" sz="2400" dirty="0" smtClean="0">
                <a:latin typeface="+mj-lt"/>
              </a:rPr>
              <a:t>.</a:t>
            </a:r>
            <a:endParaRPr lang="ru-RU" sz="2400" dirty="0">
              <a:latin typeface="+mj-lt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219950" y="1409700"/>
            <a:ext cx="4867275" cy="517398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3000" b="0" dirty="0"/>
              <a:t>Главные цифры проекта (к 2024 году):</a:t>
            </a:r>
          </a:p>
          <a:p>
            <a:r>
              <a:rPr lang="ru-RU" b="0" dirty="0" smtClean="0"/>
              <a:t>создание </a:t>
            </a:r>
            <a:r>
              <a:rPr lang="ru-RU" b="0" dirty="0"/>
              <a:t>в 85 субъектах России региональных центров выявления, поддержки и развития способностей и талантов у детей и </a:t>
            </a:r>
            <a:r>
              <a:rPr lang="ru-RU" b="0" dirty="0" err="1" smtClean="0"/>
              <a:t>молодежи</a:t>
            </a:r>
            <a:endParaRPr lang="ru-RU" b="0" dirty="0" smtClean="0"/>
          </a:p>
          <a:p>
            <a:r>
              <a:rPr lang="ru-RU" b="0" dirty="0" smtClean="0"/>
              <a:t>обновление МТБ </a:t>
            </a:r>
            <a:r>
              <a:rPr lang="ru-RU" b="0" dirty="0"/>
              <a:t>в сельской местности для занятий физкультурой и </a:t>
            </a:r>
            <a:r>
              <a:rPr lang="ru-RU" b="0" dirty="0" smtClean="0"/>
              <a:t>спортом</a:t>
            </a:r>
          </a:p>
          <a:p>
            <a:r>
              <a:rPr lang="ru-RU" b="0" dirty="0" smtClean="0"/>
              <a:t>создание </a:t>
            </a:r>
            <a:r>
              <a:rPr lang="ru-RU" b="0" dirty="0"/>
              <a:t>245 детских технопарков «</a:t>
            </a:r>
            <a:r>
              <a:rPr lang="ru-RU" b="0" dirty="0" err="1"/>
              <a:t>Кванториум</a:t>
            </a:r>
            <a:r>
              <a:rPr lang="ru-RU" b="0" dirty="0"/>
              <a:t>» и 340 мобильных технопарков «</a:t>
            </a:r>
            <a:r>
              <a:rPr lang="ru-RU" b="0" dirty="0" err="1" smtClean="0"/>
              <a:t>Кванториум</a:t>
            </a:r>
            <a:r>
              <a:rPr lang="ru-RU" b="0" dirty="0" smtClean="0"/>
              <a:t>»</a:t>
            </a:r>
          </a:p>
          <a:p>
            <a:r>
              <a:rPr lang="ru-RU" b="0" dirty="0" smtClean="0"/>
              <a:t>охват </a:t>
            </a:r>
            <a:r>
              <a:rPr lang="ru-RU" b="0" dirty="0"/>
              <a:t>дополнительными общеобразовательными программами не менее 70% детей с </a:t>
            </a:r>
            <a:r>
              <a:rPr lang="ru-RU" b="0" dirty="0" smtClean="0"/>
              <a:t>ОВЗ</a:t>
            </a:r>
            <a:endParaRPr lang="ru-RU" b="0" dirty="0"/>
          </a:p>
        </p:txBody>
      </p:sp>
    </p:spTree>
    <p:extLst>
      <p:ext uri="{BB962C8B-B14F-4D97-AF65-F5344CB8AC3E}">
        <p14:creationId xmlns:p14="http://schemas.microsoft.com/office/powerpoint/2010/main" val="3525095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рия «Моя будущая профессия</a:t>
            </a:r>
            <a:r>
              <a:rPr lang="ru-RU" dirty="0" smtClean="0"/>
              <a:t>»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5910" y="1794596"/>
            <a:ext cx="2943490" cy="3889901"/>
          </a:xfrm>
          <a:prstGeom prst="rect">
            <a:avLst/>
          </a:prstGeom>
        </p:spPr>
      </p:pic>
      <p:pic>
        <p:nvPicPr>
          <p:cNvPr id="8" name="Picture 6" descr="C:\Users\ATolmacheva\Desktop\Тесты по профориентации. 9 класс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55981" y="1794592"/>
            <a:ext cx="2702416" cy="38898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:\Users\ATolmacheva\Desktop\Тесты по профориентации. 8 класс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0698" y="1794596"/>
            <a:ext cx="2817769" cy="38898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4044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спех каждого ребёнка</a:t>
            </a:r>
          </a:p>
        </p:txBody>
      </p:sp>
      <p:pic>
        <p:nvPicPr>
          <p:cNvPr id="6" name="Picture 69" descr="IMG_1934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97628" y="1384300"/>
            <a:ext cx="4370933" cy="34434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0" name="Picture 6" descr="https://deita.ru/media/images/____cV3iHNH.2e16d0ba.fill-900x600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6243" y="2498889"/>
            <a:ext cx="4957514" cy="33050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ÐÐ°ÑÑÐ¸Ð½ÐºÐ¸ Ð¿Ð¾ Ð·Ð°Ð¿ÑÐ¾ÑÑ Ð´ÐµÑÑÐºÐ¸Ð¹ ÑÐµÑÐ½Ð¾Ð¿Ð°ÑÐº ÐºÐ²Ð°Ð½ÑÐ¾ÑÐ¸ÑÐ¼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175" y="1384300"/>
            <a:ext cx="2892425" cy="19231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6" name="Picture 2" descr="ÐÐ°ÑÑÐ¸Ð½ÐºÐ¸ Ð¿Ð¾ Ð·Ð°Ð¿ÑÐ¾ÑÑ ÐÐ¾Ð¼ Ð½Ð°ÑÑÐ½Ð¾Ð¹ ÐºÐ¾Ð»Ð»Ð°Ð±Ð¾ÑÐ°ÑÐ¸Ð¸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6175" y="3648074"/>
            <a:ext cx="4872441" cy="30702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3688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Группа 9"/>
          <p:cNvGrpSpPr/>
          <p:nvPr/>
        </p:nvGrpSpPr>
        <p:grpSpPr>
          <a:xfrm>
            <a:off x="3082416" y="1262893"/>
            <a:ext cx="936000" cy="936000"/>
            <a:chOff x="315620" y="1881352"/>
            <a:chExt cx="1090829" cy="1110436"/>
          </a:xfrm>
        </p:grpSpPr>
        <p:sp>
          <p:nvSpPr>
            <p:cNvPr id="11" name="Овал 10">
              <a:extLst>
                <a:ext uri="{FF2B5EF4-FFF2-40B4-BE49-F238E27FC236}">
                  <a16:creationId xmlns:a16="http://schemas.microsoft.com/office/drawing/2014/main" xmlns="" id="{7D321514-DB09-401C-B13E-899FC68BE37B}"/>
                </a:ext>
              </a:extLst>
            </p:cNvPr>
            <p:cNvSpPr/>
            <p:nvPr/>
          </p:nvSpPr>
          <p:spPr>
            <a:xfrm>
              <a:off x="315620" y="1881352"/>
              <a:ext cx="1090829" cy="1110436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defTabSz="914400" hangingPunct="1"/>
              <a:endParaRPr lang="ru-RU" sz="2800" kern="12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xmlns="" id="{4D61A4A0-2FB7-4276-A854-D8C2D272A94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3147" y="2158564"/>
              <a:ext cx="746327" cy="624332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Цифровая образовательная </a:t>
            </a:r>
            <a:r>
              <a:rPr lang="ru-RU" dirty="0" smtClean="0"/>
              <a:t>сред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199" y="2081719"/>
            <a:ext cx="6060877" cy="476726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3500" b="1" dirty="0" smtClean="0">
              <a:latin typeface="+mj-lt"/>
            </a:endParaRPr>
          </a:p>
          <a:p>
            <a:pPr marL="0" indent="0">
              <a:buNone/>
            </a:pPr>
            <a:r>
              <a:rPr lang="ru-RU" sz="3500" b="1" dirty="0" smtClean="0">
                <a:latin typeface="+mj-lt"/>
              </a:rPr>
              <a:t>Задача проекта:</a:t>
            </a:r>
          </a:p>
          <a:p>
            <a:r>
              <a:rPr lang="ru-RU" sz="2400" dirty="0" smtClean="0">
                <a:latin typeface="+mj-lt"/>
              </a:rPr>
              <a:t>создание </a:t>
            </a:r>
            <a:r>
              <a:rPr lang="ru-RU" sz="2400" dirty="0">
                <a:latin typeface="+mj-lt"/>
              </a:rPr>
              <a:t>современной и безопасной цифровой образовательной среды, обеспечивающей высокое качество и </a:t>
            </a:r>
            <a:r>
              <a:rPr lang="ru-RU" sz="2400" dirty="0">
                <a:solidFill>
                  <a:srgbClr val="E22A8B"/>
                </a:solidFill>
                <a:latin typeface="+mj-lt"/>
              </a:rPr>
              <a:t>доступность образования всех видов и уровней</a:t>
            </a:r>
            <a:r>
              <a:rPr lang="ru-RU" sz="2400" dirty="0" smtClean="0">
                <a:latin typeface="+mj-lt"/>
              </a:rPr>
              <a:t>.</a:t>
            </a:r>
            <a:endParaRPr lang="ru-RU" sz="2400" dirty="0">
              <a:latin typeface="+mj-lt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ru-RU" sz="3000" b="0" dirty="0"/>
              <a:t>Главные цифры проекта (к 2024 году</a:t>
            </a:r>
            <a:r>
              <a:rPr lang="ru-RU" sz="3000" b="0" dirty="0" smtClean="0"/>
              <a:t>):</a:t>
            </a:r>
            <a:endParaRPr lang="ru-RU" sz="3000" b="0" dirty="0"/>
          </a:p>
          <a:p>
            <a:r>
              <a:rPr lang="ru-RU" b="0" dirty="0"/>
              <a:t>внедрение целевой модели цифровой образовательной среды по всей </a:t>
            </a:r>
            <a:r>
              <a:rPr lang="ru-RU" b="0" dirty="0" smtClean="0"/>
              <a:t>стране</a:t>
            </a:r>
          </a:p>
          <a:p>
            <a:r>
              <a:rPr lang="ru-RU" b="0" dirty="0" smtClean="0"/>
              <a:t>внедрение </a:t>
            </a:r>
            <a:r>
              <a:rPr lang="ru-RU" b="0" dirty="0"/>
              <a:t>современных цифровых технологий в образовательные программы 25% общеобразовательных организаций 75 субъектов Российской Федерации для как минимум 500 тысяч </a:t>
            </a:r>
            <a:r>
              <a:rPr lang="ru-RU" b="0" dirty="0" smtClean="0"/>
              <a:t>детей</a:t>
            </a:r>
          </a:p>
          <a:p>
            <a:r>
              <a:rPr lang="ru-RU" b="0" dirty="0" smtClean="0"/>
              <a:t>обеспечение </a:t>
            </a:r>
            <a:r>
              <a:rPr lang="ru-RU" b="0" dirty="0"/>
              <a:t>100% образовательных организаций в городах Интернетом со скоростью соединения не менее 100 Мб/с, в сельской местности – 50 </a:t>
            </a:r>
            <a:r>
              <a:rPr lang="ru-RU" b="0" dirty="0" smtClean="0"/>
              <a:t>Мб/с</a:t>
            </a:r>
          </a:p>
          <a:p>
            <a:r>
              <a:rPr lang="ru-RU" b="0" dirty="0" smtClean="0"/>
              <a:t>создание </a:t>
            </a:r>
            <a:r>
              <a:rPr lang="ru-RU" b="0" dirty="0"/>
              <a:t>сети центров цифрового образования, охватывающей в год не менее 136 тысяч детей.</a:t>
            </a:r>
          </a:p>
        </p:txBody>
      </p:sp>
    </p:spTree>
    <p:extLst>
      <p:ext uri="{BB962C8B-B14F-4D97-AF65-F5344CB8AC3E}">
        <p14:creationId xmlns:p14="http://schemas.microsoft.com/office/powerpoint/2010/main" val="362628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Овал 11">
            <a:extLst>
              <a:ext uri="{FF2B5EF4-FFF2-40B4-BE49-F238E27FC236}">
                <a16:creationId xmlns:a16="http://schemas.microsoft.com/office/drawing/2014/main" xmlns="" id="{293AE289-D650-42D0-AF04-7AA6E609EDB1}"/>
              </a:ext>
            </a:extLst>
          </p:cNvPr>
          <p:cNvSpPr/>
          <p:nvPr/>
        </p:nvSpPr>
        <p:spPr>
          <a:xfrm>
            <a:off x="3082416" y="1261891"/>
            <a:ext cx="936000" cy="936000"/>
          </a:xfrm>
          <a:prstGeom prst="ellips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defTabSz="914400" hangingPunct="1"/>
            <a:endParaRPr lang="ru-RU" sz="2800" kern="1200" dirty="0">
              <a:solidFill>
                <a:prstClr val="white">
                  <a:lumMod val="85000"/>
                </a:prstClr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60D1A8DA-8B7C-4433-9C5B-32003A4CD7F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6802" y="1394989"/>
            <a:ext cx="671808" cy="671808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читель будущего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199" y="2081719"/>
            <a:ext cx="6060877" cy="415026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3500" b="1" dirty="0" smtClean="0">
              <a:latin typeface="+mj-lt"/>
            </a:endParaRPr>
          </a:p>
          <a:p>
            <a:pPr marL="0" indent="0">
              <a:buNone/>
            </a:pPr>
            <a:r>
              <a:rPr lang="ru-RU" sz="3500" b="1" dirty="0" smtClean="0">
                <a:latin typeface="+mj-lt"/>
              </a:rPr>
              <a:t>Задача </a:t>
            </a:r>
            <a:r>
              <a:rPr lang="ru-RU" sz="3500" b="1" dirty="0">
                <a:latin typeface="+mj-lt"/>
              </a:rPr>
              <a:t>проекта:</a:t>
            </a:r>
          </a:p>
          <a:p>
            <a:r>
              <a:rPr lang="ru-RU" sz="2400" dirty="0" smtClean="0">
                <a:latin typeface="+mj-lt"/>
              </a:rPr>
              <a:t>внедрение </a:t>
            </a:r>
            <a:r>
              <a:rPr lang="ru-RU" sz="2400" dirty="0">
                <a:latin typeface="+mj-lt"/>
              </a:rPr>
              <a:t>национальной системы профессионального роста педагогических работников, охватывающей не менее 50% учителей общеобразовательных организаций</a:t>
            </a:r>
            <a:r>
              <a:rPr lang="ru-RU" sz="2400" dirty="0" smtClean="0">
                <a:latin typeface="+mj-lt"/>
              </a:rPr>
              <a:t>.</a:t>
            </a:r>
            <a:endParaRPr lang="ru-RU" sz="2400" dirty="0">
              <a:latin typeface="+mj-lt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sz="3000" dirty="0"/>
              <a:t>Главные цифры проекта (к 2024 году):</a:t>
            </a:r>
          </a:p>
          <a:p>
            <a:r>
              <a:rPr lang="ru-RU" dirty="0" smtClean="0"/>
              <a:t>повышение </a:t>
            </a:r>
            <a:r>
              <a:rPr lang="ru-RU" dirty="0"/>
              <a:t>уровня профессионального мастерства 50% педагогических работников, </a:t>
            </a:r>
            <a:endParaRPr lang="ru-RU" dirty="0" smtClean="0"/>
          </a:p>
          <a:p>
            <a:r>
              <a:rPr lang="ru-RU" dirty="0" smtClean="0"/>
              <a:t>создание </a:t>
            </a:r>
            <a:r>
              <a:rPr lang="ru-RU" dirty="0"/>
              <a:t>сети центров непрерывного повышения квалификации во всех субъектах России, </a:t>
            </a:r>
            <a:endParaRPr lang="ru-RU" dirty="0" smtClean="0"/>
          </a:p>
          <a:p>
            <a:r>
              <a:rPr lang="ru-RU" dirty="0" smtClean="0"/>
              <a:t>участие </a:t>
            </a:r>
            <a:r>
              <a:rPr lang="ru-RU" dirty="0"/>
              <a:t>70% учителей в возрасте до 35 лет в различных формах поддержки и сопровождения обучающихся в первые 3 года работы.</a:t>
            </a:r>
          </a:p>
        </p:txBody>
      </p:sp>
    </p:spTree>
    <p:extLst>
      <p:ext uri="{BB962C8B-B14F-4D97-AF65-F5344CB8AC3E}">
        <p14:creationId xmlns:p14="http://schemas.microsoft.com/office/powerpoint/2010/main" val="2255404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Группа 8"/>
          <p:cNvGrpSpPr/>
          <p:nvPr/>
        </p:nvGrpSpPr>
        <p:grpSpPr>
          <a:xfrm>
            <a:off x="3082416" y="1262893"/>
            <a:ext cx="936000" cy="936000"/>
            <a:chOff x="350650" y="2123090"/>
            <a:chExt cx="1051455" cy="1031980"/>
          </a:xfrm>
        </p:grpSpPr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xmlns="" id="{8C85DE25-B4A0-4F3E-B875-CF523A70292B}"/>
                </a:ext>
              </a:extLst>
            </p:cNvPr>
            <p:cNvSpPr/>
            <p:nvPr/>
          </p:nvSpPr>
          <p:spPr>
            <a:xfrm>
              <a:off x="350650" y="2123090"/>
              <a:ext cx="1051455" cy="1031980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defTabSz="914400" hangingPunct="1"/>
              <a:endParaRPr lang="ru-RU" sz="2800" kern="12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xmlns="" id="{A7A324AD-47DB-4B75-9E38-F96469ECBE1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9555" y="2380471"/>
              <a:ext cx="624804" cy="624804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циальная активность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199" y="2081719"/>
            <a:ext cx="6060877" cy="3812644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3500" b="1" dirty="0" smtClean="0">
              <a:latin typeface="+mj-lt"/>
            </a:endParaRPr>
          </a:p>
          <a:p>
            <a:pPr marL="0" indent="0">
              <a:buNone/>
            </a:pPr>
            <a:r>
              <a:rPr lang="ru-RU" sz="3500" b="1" dirty="0" smtClean="0">
                <a:latin typeface="+mj-lt"/>
              </a:rPr>
              <a:t>Задача проекта:</a:t>
            </a:r>
            <a:endParaRPr lang="ru-RU" sz="3500" b="1" dirty="0">
              <a:latin typeface="+mj-lt"/>
            </a:endParaRPr>
          </a:p>
          <a:p>
            <a:r>
              <a:rPr lang="ru-RU" sz="2400" dirty="0" smtClean="0">
                <a:latin typeface="+mj-lt"/>
              </a:rPr>
              <a:t>создание </a:t>
            </a:r>
            <a:r>
              <a:rPr lang="ru-RU" sz="2400" dirty="0">
                <a:latin typeface="+mj-lt"/>
              </a:rPr>
              <a:t>условий для развития наставничества, поддержки общественных инициатив и проектов, в том числе в сфере </a:t>
            </a:r>
            <a:r>
              <a:rPr lang="ru-RU" sz="2400" dirty="0" err="1">
                <a:solidFill>
                  <a:srgbClr val="E22A8B"/>
                </a:solidFill>
                <a:latin typeface="+mj-lt"/>
              </a:rPr>
              <a:t>волонтерства</a:t>
            </a:r>
            <a:r>
              <a:rPr lang="ru-RU" sz="2400" dirty="0" smtClean="0">
                <a:latin typeface="+mj-lt"/>
              </a:rPr>
              <a:t>.</a:t>
            </a:r>
            <a:endParaRPr lang="ru-RU" sz="2400" dirty="0">
              <a:latin typeface="+mj-lt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sz="3000" dirty="0"/>
              <a:t>Главные цифры проекта (к 2024 году):</a:t>
            </a:r>
          </a:p>
          <a:p>
            <a:r>
              <a:rPr lang="ru-RU" dirty="0" smtClean="0"/>
              <a:t>создание </a:t>
            </a:r>
            <a:r>
              <a:rPr lang="ru-RU" dirty="0"/>
              <a:t>и внедрение в 85 субъектах Российской Федерации системы социальной поддержки граждан, систематически участвующих в </a:t>
            </a:r>
            <a:r>
              <a:rPr lang="ru-RU" dirty="0" err="1"/>
              <a:t>волонтерских</a:t>
            </a:r>
            <a:r>
              <a:rPr lang="ru-RU" dirty="0"/>
              <a:t> проектах, </a:t>
            </a:r>
            <a:endParaRPr lang="ru-RU" dirty="0" smtClean="0"/>
          </a:p>
          <a:p>
            <a:r>
              <a:rPr lang="ru-RU" dirty="0" smtClean="0"/>
              <a:t>проведение </a:t>
            </a:r>
            <a:r>
              <a:rPr lang="ru-RU" dirty="0"/>
              <a:t>информационных и рекламных кампаний с целью популяризации </a:t>
            </a:r>
            <a:r>
              <a:rPr lang="ru-RU" dirty="0" err="1"/>
              <a:t>волонтерства</a:t>
            </a:r>
            <a:r>
              <a:rPr lang="ru-RU" dirty="0"/>
              <a:t>, ежегодно охватывающих как минимум 10 млн </a:t>
            </a:r>
            <a:r>
              <a:rPr lang="ru-RU" dirty="0" smtClean="0"/>
              <a:t>челове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6257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dirty="0" smtClean="0"/>
              <a:t>Концепция преподавания учебного предмета «Технология»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ru-RU" dirty="0" smtClean="0">
                <a:solidFill>
                  <a:srgbClr val="E22A8B"/>
                </a:solidFill>
                <a:latin typeface="+mj-lt"/>
              </a:rPr>
              <a:t>Концепция</a:t>
            </a:r>
            <a:r>
              <a:rPr lang="ru-RU" dirty="0" smtClean="0">
                <a:latin typeface="+mj-lt"/>
              </a:rPr>
              <a:t> … </a:t>
            </a:r>
            <a:r>
              <a:rPr lang="ru-RU" dirty="0" smtClean="0">
                <a:solidFill>
                  <a:srgbClr val="E22A8B"/>
                </a:solidFill>
                <a:latin typeface="+mj-lt"/>
              </a:rPr>
              <a:t>представляет собой систему взглядов </a:t>
            </a:r>
            <a:r>
              <a:rPr lang="ru-RU" dirty="0" smtClean="0">
                <a:latin typeface="+mj-lt"/>
              </a:rPr>
              <a:t>на основные проблемы, базовые принципы, цели, задачи и направления развития предметной области «Технология»</a:t>
            </a:r>
            <a:endParaRPr lang="ru-RU" dirty="0">
              <a:latin typeface="+mj-lt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9818" y="2792943"/>
            <a:ext cx="6704049" cy="37856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4" name="Группа 3"/>
          <p:cNvGrpSpPr/>
          <p:nvPr/>
        </p:nvGrpSpPr>
        <p:grpSpPr>
          <a:xfrm>
            <a:off x="4410943" y="6043961"/>
            <a:ext cx="5099429" cy="737877"/>
            <a:chOff x="3271837" y="5157192"/>
            <a:chExt cx="5683807" cy="822436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3271837" y="5157192"/>
              <a:ext cx="5683807" cy="792088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l" defTabSz="914400" hangingPunct="1"/>
              <a:r>
                <a:rPr lang="en-US" sz="2000" u="sng" kern="1200" dirty="0">
                  <a:solidFill>
                    <a:srgbClr val="0070C0"/>
                  </a:solidFill>
                  <a:latin typeface="Calibri Light"/>
                </a:rPr>
                <a:t>https://docs.edu.gov.ru/document/c4d7feb359d9563f114aea8106c9a2aa/</a:t>
              </a:r>
              <a:endParaRPr lang="ru-RU" sz="2000" u="sng" kern="1200" dirty="0">
                <a:solidFill>
                  <a:srgbClr val="0070C0"/>
                </a:solidFill>
                <a:latin typeface="Calibri Light"/>
              </a:endParaRPr>
            </a:p>
          </p:txBody>
        </p:sp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12473" y="5471629"/>
              <a:ext cx="507999" cy="507999"/>
            </a:xfrm>
            <a:prstGeom prst="rect">
              <a:avLst/>
            </a:prstGeom>
          </p:spPr>
        </p:pic>
      </p:grpSp>
      <p:sp>
        <p:nvSpPr>
          <p:cNvPr id="20" name="Прямоугольник 19"/>
          <p:cNvSpPr/>
          <p:nvPr/>
        </p:nvSpPr>
        <p:spPr>
          <a:xfrm>
            <a:off x="8873867" y="5643851"/>
            <a:ext cx="3031602" cy="412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algn="r" defTabSz="914400" hangingPunct="1">
              <a:spcBef>
                <a:spcPts val="100"/>
              </a:spcBef>
            </a:pPr>
            <a:r>
              <a:rPr lang="ru-RU" sz="1000" dirty="0" smtClean="0">
                <a:solidFill>
                  <a:prstClr val="white">
                    <a:lumMod val="50000"/>
                  </a:prstClr>
                </a:solidFill>
                <a:latin typeface="Calibri Light" panose="020F0302020204030204"/>
              </a:rPr>
              <a:t>Утверждена </a:t>
            </a:r>
            <a:r>
              <a:rPr lang="ru-RU" sz="1000" dirty="0">
                <a:solidFill>
                  <a:prstClr val="white">
                    <a:lumMod val="50000"/>
                  </a:prstClr>
                </a:solidFill>
                <a:latin typeface="Calibri Light" panose="020F0302020204030204"/>
              </a:rPr>
              <a:t>Министерством Просвещения </a:t>
            </a:r>
            <a:r>
              <a:rPr lang="ru-RU" sz="1000" dirty="0" smtClean="0">
                <a:solidFill>
                  <a:prstClr val="white">
                    <a:lumMod val="50000"/>
                  </a:prstClr>
                </a:solidFill>
                <a:latin typeface="Calibri Light" panose="020F0302020204030204"/>
              </a:rPr>
              <a:t>РФ</a:t>
            </a:r>
          </a:p>
          <a:p>
            <a:pPr marL="12700" algn="r" defTabSz="914400" hangingPunct="1">
              <a:spcBef>
                <a:spcPts val="100"/>
              </a:spcBef>
            </a:pPr>
            <a:r>
              <a:rPr lang="ru-RU" sz="1000" dirty="0" smtClean="0">
                <a:solidFill>
                  <a:prstClr val="white">
                    <a:lumMod val="50000"/>
                  </a:prstClr>
                </a:solidFill>
                <a:latin typeface="Calibri Light" panose="020F0302020204030204"/>
              </a:rPr>
              <a:t>24 декабря 2018 года</a:t>
            </a:r>
            <a:endParaRPr lang="ru-RU" sz="1000" dirty="0">
              <a:solidFill>
                <a:prstClr val="white">
                  <a:lumMod val="50000"/>
                </a:prstClr>
              </a:solidFill>
              <a:latin typeface="Calibri Light" panose="020F03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57610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 smtClean="0"/>
              <a:t>Концепция преподавания учебного предмета «Технология»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ru-RU" sz="2400" dirty="0">
                <a:latin typeface="+mj-lt"/>
              </a:rPr>
              <a:t>Цель технологического образования </a:t>
            </a:r>
            <a:r>
              <a:rPr lang="ru-RU" sz="2400" dirty="0" smtClean="0">
                <a:latin typeface="+mj-lt"/>
              </a:rPr>
              <a:t>– формирование </a:t>
            </a:r>
            <a:r>
              <a:rPr lang="ru-RU" sz="2400" dirty="0">
                <a:latin typeface="+mj-lt"/>
              </a:rPr>
              <a:t>технологической грамотности, критического и креативного мышления, глобальных </a:t>
            </a:r>
            <a:r>
              <a:rPr lang="ru-RU" sz="2400" dirty="0" smtClean="0">
                <a:latin typeface="+mj-lt"/>
              </a:rPr>
              <a:t>компетенций.</a:t>
            </a:r>
            <a:endParaRPr lang="ru-RU" sz="2400" dirty="0">
              <a:latin typeface="+mj-lt"/>
            </a:endParaRPr>
          </a:p>
          <a:p>
            <a:pPr marL="0" indent="0" algn="just">
              <a:buNone/>
            </a:pPr>
            <a:endParaRPr lang="ru-RU" sz="100" dirty="0" smtClean="0">
              <a:latin typeface="+mj-lt"/>
            </a:endParaRPr>
          </a:p>
          <a:p>
            <a:pPr marL="0" indent="0" algn="just">
              <a:buNone/>
            </a:pPr>
            <a:r>
              <a:rPr lang="ru-RU" sz="2400" dirty="0" smtClean="0">
                <a:latin typeface="+mj-lt"/>
              </a:rPr>
              <a:t>Для </a:t>
            </a:r>
            <a:r>
              <a:rPr lang="ru-RU" sz="2400" dirty="0">
                <a:latin typeface="+mj-lt"/>
              </a:rPr>
              <a:t>достижения этой цели необходимо решить следующие задачи:</a:t>
            </a:r>
          </a:p>
          <a:p>
            <a:pPr marL="1828800" lvl="4" indent="0" algn="just">
              <a:buNone/>
            </a:pPr>
            <a:r>
              <a:rPr lang="ru-RU" sz="2400" dirty="0">
                <a:latin typeface="+mj-lt"/>
              </a:rPr>
              <a:t>модернизация содержания, методик и технологий преподавания предметной области «Технология», ее </a:t>
            </a:r>
            <a:r>
              <a:rPr lang="ru-RU" sz="2400" dirty="0">
                <a:solidFill>
                  <a:srgbClr val="E22A8B"/>
                </a:solidFill>
                <a:latin typeface="+mj-lt"/>
              </a:rPr>
              <a:t>материально-технического</a:t>
            </a:r>
            <a:r>
              <a:rPr lang="ru-RU" sz="2400" dirty="0">
                <a:latin typeface="+mj-lt"/>
              </a:rPr>
              <a:t> и кадрового обеспечения …; изучение элементов </a:t>
            </a:r>
            <a:r>
              <a:rPr lang="ru-RU" sz="2400" dirty="0">
                <a:solidFill>
                  <a:srgbClr val="E22A8B"/>
                </a:solidFill>
                <a:latin typeface="+mj-lt"/>
              </a:rPr>
              <a:t>как традиционных, так и наиболее перспективных </a:t>
            </a:r>
            <a:r>
              <a:rPr lang="ru-RU" sz="2400" dirty="0">
                <a:latin typeface="+mj-lt"/>
              </a:rPr>
              <a:t>технологических направлений …</a:t>
            </a:r>
          </a:p>
        </p:txBody>
      </p:sp>
      <p:grpSp>
        <p:nvGrpSpPr>
          <p:cNvPr id="4" name="Группа 31"/>
          <p:cNvGrpSpPr/>
          <p:nvPr/>
        </p:nvGrpSpPr>
        <p:grpSpPr>
          <a:xfrm>
            <a:off x="1552362" y="2962779"/>
            <a:ext cx="838200" cy="1018629"/>
            <a:chOff x="684213" y="839788"/>
            <a:chExt cx="1165225" cy="1416049"/>
          </a:xfrm>
        </p:grpSpPr>
        <p:sp>
          <p:nvSpPr>
            <p:cNvPr id="5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hangingPunct="1"/>
              <a:endParaRPr lang="ru-RU" sz="1800" kern="1200">
                <a:solidFill>
                  <a:prstClr val="black"/>
                </a:solidFill>
              </a:endParaRPr>
            </a:p>
          </p:txBody>
        </p:sp>
        <p:sp>
          <p:nvSpPr>
            <p:cNvPr id="6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hangingPunct="1"/>
              <a:endParaRPr lang="ru-RU" sz="1800" kern="1200">
                <a:solidFill>
                  <a:prstClr val="black"/>
                </a:solidFill>
              </a:endParaRPr>
            </a:p>
          </p:txBody>
        </p:sp>
        <p:sp>
          <p:nvSpPr>
            <p:cNvPr id="7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hangingPunct="1"/>
              <a:endParaRPr lang="ru-RU" sz="1800" kern="1200">
                <a:solidFill>
                  <a:prstClr val="black"/>
                </a:solidFill>
              </a:endParaRPr>
            </a:p>
          </p:txBody>
        </p:sp>
        <p:sp>
          <p:nvSpPr>
            <p:cNvPr id="8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hangingPunct="1"/>
              <a:endParaRPr lang="ru-RU" sz="1800" kern="1200">
                <a:solidFill>
                  <a:prstClr val="black"/>
                </a:solidFill>
              </a:endParaRPr>
            </a:p>
          </p:txBody>
        </p:sp>
        <p:pic>
          <p:nvPicPr>
            <p:cNvPr id="9" name="Picture 4506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026" name="Picture 2" descr="http://osbkurgan.ru/upload/derevoobrabotka.jpe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2801131" y="4453618"/>
            <a:ext cx="2414385" cy="1610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pkinozal.ru/sites/default/files/smart-home-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4636" y="4453618"/>
            <a:ext cx="3449164" cy="1610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http://plaz.kovka-svarka.ru/wp-content/uploads/2015/01/laz-rez-alyum-lazernaya-rezka-alyuminiya-1024x1024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55041" y="4453618"/>
            <a:ext cx="1610070" cy="161007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13999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588329" y="2026153"/>
            <a:ext cx="6765471" cy="22881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just" defTabSz="914400" hangingPunct="1"/>
            <a:r>
              <a:rPr lang="ru-RU" sz="2400" kern="1200" dirty="0">
                <a:solidFill>
                  <a:prstClr val="black"/>
                </a:solidFill>
                <a:latin typeface="Calibri Light"/>
              </a:rPr>
              <a:t>У нас почти полностью </a:t>
            </a:r>
            <a:r>
              <a:rPr lang="ru-RU" sz="2400" kern="1200" dirty="0">
                <a:solidFill>
                  <a:srgbClr val="E22A8B"/>
                </a:solidFill>
                <a:latin typeface="Calibri Light"/>
              </a:rPr>
              <a:t>обновляется содержание предмета "Технология". </a:t>
            </a:r>
            <a:r>
              <a:rPr lang="ru-RU" sz="2400" kern="1200" dirty="0">
                <a:solidFill>
                  <a:prstClr val="black"/>
                </a:solidFill>
                <a:latin typeface="Calibri Light"/>
              </a:rPr>
              <a:t>Появляется направление, которое позволит детям знакомиться с высокотехнологичными системами. Но мы сохраним и ту часть, которая требует развития навыков ручного труда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260559" y="4684721"/>
            <a:ext cx="809324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914400" hangingPunct="1"/>
            <a:r>
              <a:rPr lang="ru-RU" sz="2400" b="1" kern="1200" dirty="0">
                <a:solidFill>
                  <a:prstClr val="black"/>
                </a:solidFill>
                <a:latin typeface="Calibri Light"/>
              </a:rPr>
              <a:t>Министр просвещения </a:t>
            </a:r>
            <a:r>
              <a:rPr lang="ru-RU" sz="2400" b="1" kern="1200" dirty="0" smtClean="0">
                <a:solidFill>
                  <a:prstClr val="black"/>
                </a:solidFill>
                <a:latin typeface="Calibri Light"/>
              </a:rPr>
              <a:t>РФ</a:t>
            </a:r>
            <a:endParaRPr lang="ru-RU" sz="2400" b="1" kern="1200" dirty="0">
              <a:solidFill>
                <a:prstClr val="black"/>
              </a:solidFill>
              <a:latin typeface="Calibri Light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1784" y="1231123"/>
            <a:ext cx="4000601" cy="399299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175357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489808" y="1734065"/>
            <a:ext cx="9353550" cy="345767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9" tIns="35719" rIns="35719" bIns="35719" numCol="1" spcCol="38100" rtlCol="0" anchor="ctr">
            <a:spAutoFit/>
          </a:bodyPr>
          <a:lstStyle/>
          <a:p>
            <a:pPr algn="just"/>
            <a:r>
              <a:rPr lang="ru-RU" sz="2600" dirty="0" smtClean="0">
                <a:latin typeface="Calibri Light" panose="020F0302020204030204"/>
              </a:rPr>
              <a:t>П.5</a:t>
            </a:r>
            <a:r>
              <a:rPr lang="ru-RU" sz="2600" dirty="0">
                <a:latin typeface="Calibri Light" panose="020F0302020204030204"/>
              </a:rPr>
              <a:t> </a:t>
            </a:r>
            <a:r>
              <a:rPr lang="ru-RU" sz="2600" dirty="0" smtClean="0">
                <a:latin typeface="Calibri Light" panose="020F0302020204030204"/>
              </a:rPr>
              <a:t>Правительству </a:t>
            </a:r>
            <a:r>
              <a:rPr lang="ru-RU" sz="2600" dirty="0">
                <a:latin typeface="Calibri Light" panose="020F0302020204030204"/>
              </a:rPr>
              <a:t>РФ при разработке национального проекта в сфере образования </a:t>
            </a:r>
            <a:r>
              <a:rPr lang="ru-RU" sz="2600" dirty="0" smtClean="0">
                <a:latin typeface="Calibri Light" panose="020F0302020204030204"/>
              </a:rPr>
              <a:t>… необходимо обеспечить:</a:t>
            </a:r>
          </a:p>
          <a:p>
            <a:pPr algn="just">
              <a:defRPr/>
            </a:pPr>
            <a:endParaRPr lang="ru-RU" sz="800" dirty="0" smtClean="0">
              <a:solidFill>
                <a:prstClr val="black"/>
              </a:solidFill>
              <a:latin typeface="Calibri Light" panose="020F0302020204030204"/>
            </a:endParaRPr>
          </a:p>
          <a:p>
            <a:pPr marL="971550" lvl="1" indent="-514350" algn="just">
              <a:buFont typeface="+mj-lt"/>
              <a:buAutoNum type="arabicParenR"/>
            </a:pPr>
            <a:r>
              <a:rPr lang="ru-RU" sz="2600" dirty="0" smtClean="0">
                <a:solidFill>
                  <a:prstClr val="black"/>
                </a:solidFill>
                <a:latin typeface="Calibri Light" panose="020F0302020204030204"/>
              </a:rPr>
              <a:t>достижение </a:t>
            </a:r>
            <a:r>
              <a:rPr lang="ru-RU" sz="2600" dirty="0">
                <a:solidFill>
                  <a:prstClr val="black"/>
                </a:solidFill>
                <a:latin typeface="Calibri Light" panose="020F0302020204030204"/>
              </a:rPr>
              <a:t>следующих </a:t>
            </a:r>
            <a:r>
              <a:rPr lang="ru-RU" sz="2600" b="1" dirty="0">
                <a:solidFill>
                  <a:prstClr val="black"/>
                </a:solidFill>
                <a:latin typeface="Calibri Light" panose="020F0302020204030204"/>
              </a:rPr>
              <a:t>целей </a:t>
            </a:r>
            <a:r>
              <a:rPr lang="ru-RU" sz="2600" dirty="0">
                <a:solidFill>
                  <a:prstClr val="black"/>
                </a:solidFill>
                <a:latin typeface="Calibri Light" panose="020F0302020204030204"/>
              </a:rPr>
              <a:t>и целевых показателей:</a:t>
            </a:r>
          </a:p>
          <a:p>
            <a:pPr marL="1257300" lvl="2" indent="-342900" algn="just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Calibri Light" panose="020F0302020204030204"/>
              </a:rPr>
              <a:t>вхождение </a:t>
            </a:r>
            <a:r>
              <a:rPr lang="ru-RU" sz="2000" dirty="0">
                <a:solidFill>
                  <a:prstClr val="black"/>
                </a:solidFill>
                <a:latin typeface="Calibri Light" panose="020F0302020204030204"/>
              </a:rPr>
              <a:t>РФ в число 10 ведущих стран мира по качеству общего образования;</a:t>
            </a:r>
          </a:p>
          <a:p>
            <a:pPr marL="1257300" lvl="2" indent="-342900" algn="just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prstClr val="black"/>
                </a:solidFill>
                <a:latin typeface="Calibri Light" panose="020F0302020204030204"/>
              </a:rPr>
              <a:t>воспитание гармонично развитой и социально ответственной </a:t>
            </a:r>
            <a:r>
              <a:rPr lang="ru-RU" sz="2000" dirty="0" smtClean="0">
                <a:solidFill>
                  <a:prstClr val="black"/>
                </a:solidFill>
                <a:latin typeface="Calibri Light" panose="020F0302020204030204"/>
              </a:rPr>
              <a:t>личности</a:t>
            </a:r>
          </a:p>
          <a:p>
            <a:pPr marL="914400" lvl="2" indent="0" algn="just"/>
            <a:endParaRPr lang="ru-RU" sz="800" dirty="0" smtClean="0">
              <a:solidFill>
                <a:prstClr val="black"/>
              </a:solidFill>
              <a:latin typeface="Calibri Light" panose="020F0302020204030204"/>
            </a:endParaRPr>
          </a:p>
          <a:p>
            <a:pPr marL="971550" lvl="1" indent="-514350" algn="just">
              <a:buFont typeface="+mj-lt"/>
              <a:buAutoNum type="arabicParenR"/>
            </a:pPr>
            <a:r>
              <a:rPr lang="ru-RU" sz="2600" dirty="0">
                <a:solidFill>
                  <a:prstClr val="black"/>
                </a:solidFill>
                <a:latin typeface="Calibri Light" panose="020F0302020204030204"/>
              </a:rPr>
              <a:t>решение следующих </a:t>
            </a:r>
            <a:r>
              <a:rPr lang="ru-RU" sz="2600" b="1" dirty="0">
                <a:solidFill>
                  <a:prstClr val="black"/>
                </a:solidFill>
                <a:latin typeface="Calibri Light" panose="020F0302020204030204"/>
              </a:rPr>
              <a:t>задач:</a:t>
            </a:r>
          </a:p>
          <a:p>
            <a:pPr marL="1257300" lvl="2" indent="-342900" algn="just">
              <a:buFont typeface="Arial" panose="020B0604020202020204" pitchFamily="34" charset="0"/>
              <a:buChar char="•"/>
            </a:pPr>
            <a:r>
              <a:rPr lang="ru-RU" sz="2000" dirty="0" smtClean="0">
                <a:solidFill>
                  <a:srgbClr val="FF3399"/>
                </a:solidFill>
                <a:latin typeface="Calibri Light" panose="020F0302020204030204"/>
              </a:rPr>
              <a:t>обновление </a:t>
            </a:r>
            <a:r>
              <a:rPr lang="ru-RU" sz="2000" dirty="0">
                <a:solidFill>
                  <a:srgbClr val="FF3399"/>
                </a:solidFill>
                <a:latin typeface="Calibri Light" panose="020F0302020204030204"/>
              </a:rPr>
              <a:t>содержания и совершенствование методов обучения предметной области «Технология»</a:t>
            </a:r>
          </a:p>
        </p:txBody>
      </p:sp>
      <p:pic>
        <p:nvPicPr>
          <p:cNvPr id="6" name="Picture 4" descr="https://cdn.promdevelop.ru/wp-content/uploads/2018/02/orig-1516625574d964813f6fe708c23b4a4fa2600a0f9c-1.jpe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0025" y="2571750"/>
            <a:ext cx="2289783" cy="2400220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едпосылки модернизации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947558" y="5430381"/>
            <a:ext cx="697774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000" dirty="0" smtClean="0">
                <a:solidFill>
                  <a:prstClr val="white">
                    <a:lumMod val="50000"/>
                  </a:prstClr>
                </a:solidFill>
                <a:latin typeface="Calibri Light" panose="020F0302020204030204"/>
              </a:rPr>
              <a:t>«</a:t>
            </a:r>
            <a:r>
              <a:rPr lang="ru-RU" sz="1000" dirty="0">
                <a:solidFill>
                  <a:prstClr val="white">
                    <a:lumMod val="50000"/>
                  </a:prstClr>
                </a:solidFill>
                <a:latin typeface="Calibri Light" panose="020F0302020204030204"/>
              </a:rPr>
              <a:t>О национальных целях и стратегических задачах развития РФ на период до 2024 </a:t>
            </a:r>
            <a:r>
              <a:rPr lang="ru-RU" sz="1000" dirty="0" smtClean="0">
                <a:solidFill>
                  <a:prstClr val="white">
                    <a:lumMod val="50000"/>
                  </a:prstClr>
                </a:solidFill>
                <a:latin typeface="Calibri Light" panose="020F0302020204030204"/>
              </a:rPr>
              <a:t>года»  </a:t>
            </a:r>
          </a:p>
          <a:p>
            <a:pPr algn="r"/>
            <a:r>
              <a:rPr lang="ru-RU" sz="1000" dirty="0" smtClean="0">
                <a:solidFill>
                  <a:prstClr val="white">
                    <a:lumMod val="50000"/>
                  </a:prstClr>
                </a:solidFill>
                <a:latin typeface="Calibri Light" panose="020F0302020204030204"/>
              </a:rPr>
              <a:t>Указ </a:t>
            </a:r>
            <a:r>
              <a:rPr lang="ru-RU" sz="1000" dirty="0">
                <a:solidFill>
                  <a:prstClr val="white">
                    <a:lumMod val="50000"/>
                  </a:prstClr>
                </a:solidFill>
                <a:latin typeface="Calibri Light" panose="020F0302020204030204"/>
              </a:rPr>
              <a:t>президента </a:t>
            </a:r>
            <a:r>
              <a:rPr lang="ru-RU" sz="1000" dirty="0" smtClean="0">
                <a:solidFill>
                  <a:prstClr val="white">
                    <a:lumMod val="50000"/>
                  </a:prstClr>
                </a:solidFill>
                <a:latin typeface="Calibri Light" panose="020F0302020204030204"/>
              </a:rPr>
              <a:t>Российской Федерации </a:t>
            </a:r>
          </a:p>
          <a:p>
            <a:pPr algn="r"/>
            <a:r>
              <a:rPr lang="ru-RU" sz="1000" dirty="0" smtClean="0">
                <a:solidFill>
                  <a:prstClr val="white">
                    <a:lumMod val="50000"/>
                  </a:prstClr>
                </a:solidFill>
                <a:latin typeface="Calibri Light" panose="020F0302020204030204"/>
              </a:rPr>
              <a:t>от 07 мая 2018 года</a:t>
            </a:r>
            <a:endParaRPr lang="ru-RU" sz="1000" dirty="0">
              <a:solidFill>
                <a:prstClr val="white">
                  <a:lumMod val="50000"/>
                </a:prstClr>
              </a:solidFill>
              <a:latin typeface="Calibri Light" panose="020F03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88348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 smtClean="0"/>
              <a:t>Концепция преподавания учебного предмета «Технология»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ru-RU" dirty="0" smtClean="0">
                <a:latin typeface="+mj-lt"/>
              </a:rPr>
              <a:t>Для </a:t>
            </a:r>
            <a:r>
              <a:rPr lang="ru-RU" dirty="0">
                <a:latin typeface="+mj-lt"/>
              </a:rPr>
              <a:t>достижения этой цели необходимо решить следующие задачи:</a:t>
            </a:r>
          </a:p>
          <a:p>
            <a:pPr marL="1828800" lvl="4" indent="0" algn="just">
              <a:buNone/>
            </a:pPr>
            <a:endParaRPr lang="ru-RU" sz="1400" dirty="0" smtClean="0">
              <a:solidFill>
                <a:srgbClr val="E22A8B"/>
              </a:solidFill>
              <a:latin typeface="+mj-lt"/>
            </a:endParaRPr>
          </a:p>
          <a:p>
            <a:pPr marL="1828800" lvl="4" indent="0" algn="just">
              <a:buNone/>
            </a:pPr>
            <a:r>
              <a:rPr lang="ru-RU" sz="2400" dirty="0" smtClean="0">
                <a:solidFill>
                  <a:srgbClr val="E22A8B"/>
                </a:solidFill>
                <a:latin typeface="+mj-lt"/>
              </a:rPr>
              <a:t>изменение </a:t>
            </a:r>
            <a:r>
              <a:rPr lang="ru-RU" sz="2400" dirty="0">
                <a:solidFill>
                  <a:srgbClr val="E22A8B"/>
                </a:solidFill>
                <a:latin typeface="+mj-lt"/>
              </a:rPr>
              <a:t>статуса </a:t>
            </a:r>
            <a:r>
              <a:rPr lang="ru-RU" sz="2400" dirty="0">
                <a:latin typeface="+mj-lt"/>
              </a:rPr>
              <a:t>предметной области «Технология» в соответствии с ее ключевой ролью в обеспечении связи фундаментального знания с преобразующей деятельностью человека </a:t>
            </a:r>
            <a:r>
              <a:rPr lang="ru-RU" sz="2400" dirty="0" smtClean="0">
                <a:latin typeface="+mj-lt"/>
              </a:rPr>
              <a:t>…</a:t>
            </a:r>
          </a:p>
          <a:p>
            <a:pPr marL="1828800" lvl="4" indent="0" algn="just">
              <a:buNone/>
            </a:pPr>
            <a:endParaRPr lang="ru-RU" sz="500" dirty="0" smtClean="0">
              <a:latin typeface="+mj-lt"/>
            </a:endParaRPr>
          </a:p>
          <a:p>
            <a:pPr marL="1828800" lvl="4" indent="0" algn="just">
              <a:buNone/>
            </a:pPr>
            <a:r>
              <a:rPr lang="ru-RU" sz="2400" dirty="0">
                <a:solidFill>
                  <a:srgbClr val="E22A8B"/>
                </a:solidFill>
                <a:latin typeface="+mj-lt"/>
              </a:rPr>
              <a:t>формирование</a:t>
            </a:r>
            <a:r>
              <a:rPr lang="ru-RU" sz="2400" dirty="0">
                <a:latin typeface="+mj-lt"/>
              </a:rPr>
              <a:t> у обучающихся </a:t>
            </a:r>
            <a:r>
              <a:rPr lang="ru-RU" sz="2400" dirty="0">
                <a:solidFill>
                  <a:srgbClr val="E22A8B"/>
                </a:solidFill>
                <a:latin typeface="+mj-lt"/>
              </a:rPr>
              <a:t>культуры проектной и исследовательской деятельности</a:t>
            </a:r>
            <a:r>
              <a:rPr lang="ru-RU" sz="2400" dirty="0">
                <a:latin typeface="+mj-lt"/>
              </a:rPr>
              <a:t> </a:t>
            </a:r>
            <a:r>
              <a:rPr lang="ru-RU" sz="2400" dirty="0" smtClean="0">
                <a:latin typeface="+mj-lt"/>
              </a:rPr>
              <a:t>…</a:t>
            </a:r>
          </a:p>
          <a:p>
            <a:pPr marL="1828800" lvl="4" indent="0" algn="just">
              <a:buNone/>
            </a:pPr>
            <a:endParaRPr lang="ru-RU" sz="500" dirty="0" smtClean="0">
              <a:latin typeface="+mj-lt"/>
            </a:endParaRPr>
          </a:p>
          <a:p>
            <a:pPr marL="1828800" lvl="4" indent="0" algn="just">
              <a:buNone/>
            </a:pPr>
            <a:r>
              <a:rPr lang="ru-RU" sz="2400" dirty="0">
                <a:solidFill>
                  <a:srgbClr val="E22A8B"/>
                </a:solidFill>
                <a:latin typeface="+mj-lt"/>
              </a:rPr>
              <a:t>создание системы преемственного технологического образования </a:t>
            </a:r>
            <a:r>
              <a:rPr lang="ru-RU" sz="2400" dirty="0">
                <a:latin typeface="+mj-lt"/>
              </a:rPr>
              <a:t>на всех уровнях общего образования</a:t>
            </a:r>
          </a:p>
          <a:p>
            <a:pPr marL="1828800" lvl="4" indent="0" algn="just">
              <a:buNone/>
            </a:pPr>
            <a:endParaRPr lang="ru-RU" sz="2400" dirty="0">
              <a:latin typeface="+mj-lt"/>
            </a:endParaRPr>
          </a:p>
        </p:txBody>
      </p:sp>
      <p:grpSp>
        <p:nvGrpSpPr>
          <p:cNvPr id="10" name="Группа 31"/>
          <p:cNvGrpSpPr/>
          <p:nvPr/>
        </p:nvGrpSpPr>
        <p:grpSpPr>
          <a:xfrm>
            <a:off x="1658678" y="2343991"/>
            <a:ext cx="731883" cy="889426"/>
            <a:chOff x="684213" y="839788"/>
            <a:chExt cx="1165225" cy="1416049"/>
          </a:xfrm>
        </p:grpSpPr>
        <p:sp>
          <p:nvSpPr>
            <p:cNvPr id="11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hangingPunct="1"/>
              <a:endParaRPr lang="ru-RU" sz="1800" kern="1200">
                <a:solidFill>
                  <a:prstClr val="black"/>
                </a:solidFill>
              </a:endParaRPr>
            </a:p>
          </p:txBody>
        </p:sp>
        <p:sp>
          <p:nvSpPr>
            <p:cNvPr id="12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hangingPunct="1"/>
              <a:endParaRPr lang="ru-RU" sz="1800" kern="1200">
                <a:solidFill>
                  <a:prstClr val="black"/>
                </a:solidFill>
              </a:endParaRPr>
            </a:p>
          </p:txBody>
        </p:sp>
        <p:sp>
          <p:nvSpPr>
            <p:cNvPr id="13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hangingPunct="1"/>
              <a:endParaRPr lang="ru-RU" sz="1800" kern="1200">
                <a:solidFill>
                  <a:prstClr val="black"/>
                </a:solidFill>
              </a:endParaRPr>
            </a:p>
          </p:txBody>
        </p:sp>
        <p:sp>
          <p:nvSpPr>
            <p:cNvPr id="14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hangingPunct="1"/>
              <a:endParaRPr lang="ru-RU" sz="1800" kern="1200">
                <a:solidFill>
                  <a:prstClr val="black"/>
                </a:solidFill>
              </a:endParaRPr>
            </a:p>
          </p:txBody>
        </p:sp>
        <p:pic>
          <p:nvPicPr>
            <p:cNvPr id="15" name="Picture 4506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6" name="Группа 31"/>
          <p:cNvGrpSpPr/>
          <p:nvPr/>
        </p:nvGrpSpPr>
        <p:grpSpPr>
          <a:xfrm>
            <a:off x="1658678" y="3546036"/>
            <a:ext cx="731883" cy="889426"/>
            <a:chOff x="684213" y="839788"/>
            <a:chExt cx="1165225" cy="1416049"/>
          </a:xfrm>
        </p:grpSpPr>
        <p:sp>
          <p:nvSpPr>
            <p:cNvPr id="17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hangingPunct="1"/>
              <a:endParaRPr lang="ru-RU" sz="1800" kern="1200">
                <a:solidFill>
                  <a:prstClr val="black"/>
                </a:solidFill>
              </a:endParaRPr>
            </a:p>
          </p:txBody>
        </p:sp>
        <p:sp>
          <p:nvSpPr>
            <p:cNvPr id="18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hangingPunct="1"/>
              <a:endParaRPr lang="ru-RU" sz="1800" kern="1200">
                <a:solidFill>
                  <a:prstClr val="black"/>
                </a:solidFill>
              </a:endParaRPr>
            </a:p>
          </p:txBody>
        </p:sp>
        <p:sp>
          <p:nvSpPr>
            <p:cNvPr id="19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hangingPunct="1"/>
              <a:endParaRPr lang="ru-RU" sz="1800" kern="1200">
                <a:solidFill>
                  <a:prstClr val="black"/>
                </a:solidFill>
              </a:endParaRPr>
            </a:p>
          </p:txBody>
        </p:sp>
        <p:sp>
          <p:nvSpPr>
            <p:cNvPr id="20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hangingPunct="1"/>
              <a:endParaRPr lang="ru-RU" sz="1800" kern="1200">
                <a:solidFill>
                  <a:prstClr val="black"/>
                </a:solidFill>
              </a:endParaRPr>
            </a:p>
          </p:txBody>
        </p:sp>
        <p:pic>
          <p:nvPicPr>
            <p:cNvPr id="21" name="Picture 4506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5" name="Группа 31"/>
          <p:cNvGrpSpPr/>
          <p:nvPr/>
        </p:nvGrpSpPr>
        <p:grpSpPr>
          <a:xfrm>
            <a:off x="1658678" y="4418459"/>
            <a:ext cx="731883" cy="889426"/>
            <a:chOff x="684213" y="839788"/>
            <a:chExt cx="1165225" cy="1416049"/>
          </a:xfrm>
        </p:grpSpPr>
        <p:sp>
          <p:nvSpPr>
            <p:cNvPr id="26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hangingPunct="1"/>
              <a:endParaRPr lang="ru-RU" sz="1800" kern="1200">
                <a:solidFill>
                  <a:prstClr val="black"/>
                </a:solidFill>
              </a:endParaRPr>
            </a:p>
          </p:txBody>
        </p:sp>
        <p:sp>
          <p:nvSpPr>
            <p:cNvPr id="27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hangingPunct="1"/>
              <a:endParaRPr lang="ru-RU" sz="1800" kern="1200">
                <a:solidFill>
                  <a:prstClr val="black"/>
                </a:solidFill>
              </a:endParaRPr>
            </a:p>
          </p:txBody>
        </p:sp>
        <p:sp>
          <p:nvSpPr>
            <p:cNvPr id="28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hangingPunct="1"/>
              <a:endParaRPr lang="ru-RU" sz="1800" kern="1200">
                <a:solidFill>
                  <a:prstClr val="black"/>
                </a:solidFill>
              </a:endParaRPr>
            </a:p>
          </p:txBody>
        </p:sp>
        <p:sp>
          <p:nvSpPr>
            <p:cNvPr id="29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defTabSz="914400" hangingPunct="1"/>
              <a:endParaRPr lang="ru-RU" sz="1800" kern="1200">
                <a:solidFill>
                  <a:prstClr val="black"/>
                </a:solidFill>
              </a:endParaRPr>
            </a:p>
          </p:txBody>
        </p:sp>
        <p:pic>
          <p:nvPicPr>
            <p:cNvPr id="30" name="Picture 4506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262511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Рисунок 4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8179" y="1992713"/>
            <a:ext cx="1298206" cy="17497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68166" y="1992713"/>
            <a:ext cx="1301859" cy="17497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1" name="Рисунок 40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98152" y="1992713"/>
            <a:ext cx="1301859" cy="17497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28588" y="1992713"/>
            <a:ext cx="1301409" cy="17497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0550" y="1992713"/>
            <a:ext cx="1324042" cy="1749757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Преемственность технологического образования в УМК издательства «Просвещение»</a:t>
            </a:r>
            <a:endParaRPr lang="ru-RU" dirty="0"/>
          </a:p>
        </p:txBody>
      </p:sp>
      <p:graphicFrame>
        <p:nvGraphicFramePr>
          <p:cNvPr id="4" name="Схема 3"/>
          <p:cNvGraphicFramePr/>
          <p:nvPr>
            <p:extLst/>
          </p:nvPr>
        </p:nvGraphicFramePr>
        <p:xfrm>
          <a:off x="505159" y="1383630"/>
          <a:ext cx="3140301" cy="46371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2061284" y="4322611"/>
            <a:ext cx="2339784" cy="1150039"/>
            <a:chOff x="3208019" y="2376310"/>
            <a:chExt cx="3089204" cy="1689408"/>
          </a:xfrm>
        </p:grpSpPr>
        <p:sp>
          <p:nvSpPr>
            <p:cNvPr id="10" name="Скругленный прямоугольник 9"/>
            <p:cNvSpPr/>
            <p:nvPr/>
          </p:nvSpPr>
          <p:spPr>
            <a:xfrm>
              <a:off x="3208019" y="2376310"/>
              <a:ext cx="3089204" cy="1689408"/>
            </a:xfrm>
            <a:prstGeom prst="round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Скругленный прямоугольник 4"/>
            <p:cNvSpPr/>
            <p:nvPr/>
          </p:nvSpPr>
          <p:spPr>
            <a:xfrm>
              <a:off x="3290489" y="2458780"/>
              <a:ext cx="2924264" cy="152446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5250" tIns="95250" rIns="95250" bIns="95250" numCol="1" spcCol="1270" anchor="ctr" anchorCtr="0">
              <a:noAutofit/>
            </a:bodyPr>
            <a:lstStyle/>
            <a:p>
              <a:pPr defTabSz="974011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kern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 Light"/>
                </a:rPr>
                <a:t>Начальное общее образование</a:t>
              </a:r>
            </a:p>
            <a:p>
              <a:pPr defTabSz="974011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kern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 Light"/>
                </a:rPr>
                <a:t>(1-4 класс)</a:t>
              </a: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2061284" y="2102050"/>
            <a:ext cx="2339784" cy="1150039"/>
            <a:chOff x="3208019" y="475726"/>
            <a:chExt cx="3089204" cy="1689408"/>
          </a:xfrm>
        </p:grpSpPr>
        <p:sp>
          <p:nvSpPr>
            <p:cNvPr id="15" name="Скругленный прямоугольник 14"/>
            <p:cNvSpPr/>
            <p:nvPr/>
          </p:nvSpPr>
          <p:spPr>
            <a:xfrm>
              <a:off x="3208019" y="475726"/>
              <a:ext cx="3089204" cy="1689408"/>
            </a:xfrm>
            <a:prstGeom prst="round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Скругленный прямоугольник 4"/>
            <p:cNvSpPr/>
            <p:nvPr/>
          </p:nvSpPr>
          <p:spPr>
            <a:xfrm>
              <a:off x="3290489" y="558196"/>
              <a:ext cx="2924264" cy="152446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5250" tIns="95250" rIns="95250" bIns="95250" numCol="1" spcCol="1270" anchor="ctr" anchorCtr="0">
              <a:noAutofit/>
            </a:bodyPr>
            <a:lstStyle/>
            <a:p>
              <a:pPr defTabSz="974011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b="1" kern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 Light"/>
                </a:rPr>
                <a:t>Основное общее образование</a:t>
              </a:r>
            </a:p>
            <a:p>
              <a:pPr defTabSz="974011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800" kern="1200" dirty="0">
                  <a:solidFill>
                    <a:prstClr val="black">
                      <a:lumMod val="65000"/>
                      <a:lumOff val="35000"/>
                    </a:prstClr>
                  </a:solidFill>
                  <a:latin typeface="Calibri Light"/>
                </a:rPr>
                <a:t>(5-9 класс)</a:t>
              </a:r>
            </a:p>
          </p:txBody>
        </p:sp>
      </p:grpSp>
      <p:pic>
        <p:nvPicPr>
          <p:cNvPr id="26" name="Picture 6" descr="C:\Users\ATolmacheva\Desktop\Тесты по профориентации. 9 класс.jp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95109" y="1992713"/>
            <a:ext cx="1215602" cy="17497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C:\Users\ATolmacheva\Desktop\Тесты по профориентации. 8 класс.jpg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15899" y="1992716"/>
            <a:ext cx="1267490" cy="17497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8815896" y="3945756"/>
            <a:ext cx="3129561" cy="357930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pPr defTabSz="914400" hangingPunct="1"/>
            <a:r>
              <a:rPr lang="ru-RU" sz="1800" b="1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/>
              </a:rPr>
              <a:t>Школа России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028588" y="3945757"/>
            <a:ext cx="3607797" cy="357930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pPr defTabSz="914400" hangingPunct="1"/>
            <a:r>
              <a:rPr lang="ru-RU" sz="1800" b="1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/>
              </a:rPr>
              <a:t>Перспектива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028588" y="1318321"/>
            <a:ext cx="3607797" cy="634929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pPr defTabSz="914400" hangingPunct="1"/>
            <a:r>
              <a:rPr lang="ru-RU" sz="1800" b="1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/>
              </a:rPr>
              <a:t>УМК «Технология» под ред.             В.М. Казакевича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815896" y="1318321"/>
            <a:ext cx="2838696" cy="634929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pPr defTabSz="914400" hangingPunct="1"/>
            <a:r>
              <a:rPr lang="ru-RU" sz="1800" b="1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Calibri Light"/>
              </a:rPr>
              <a:t>Серия «Моя будущая профессия»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1320" y="4416940"/>
            <a:ext cx="1335065" cy="17497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8992" y="4416940"/>
            <a:ext cx="1312318" cy="17497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0163" y="4416940"/>
            <a:ext cx="1308819" cy="17497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8588" y="4416940"/>
            <a:ext cx="1331565" cy="17497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8642" y="4416939"/>
            <a:ext cx="1336815" cy="17497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0476" y="4416940"/>
            <a:ext cx="1335065" cy="17497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2311" y="4416940"/>
            <a:ext cx="1335065" cy="17497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5896" y="4416940"/>
            <a:ext cx="1333315" cy="174975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240895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КОНЦЕПЦИЯ ПРЕПОДАВАНИЯ УЧЕБНОГО ПРЕДМЕТА «ТЕХНОЛОГИЯ»</a:t>
            </a:r>
            <a:endParaRPr lang="ru-RU" dirty="0"/>
          </a:p>
        </p:txBody>
      </p:sp>
      <p:graphicFrame>
        <p:nvGraphicFramePr>
          <p:cNvPr id="2" name="Схема 1"/>
          <p:cNvGraphicFramePr/>
          <p:nvPr>
            <p:extLst/>
          </p:nvPr>
        </p:nvGraphicFramePr>
        <p:xfrm>
          <a:off x="867295" y="1172095"/>
          <a:ext cx="10457411" cy="51954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073440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/>
          </p:cNvSpPr>
          <p:nvPr/>
        </p:nvSpPr>
        <p:spPr bwMode="auto">
          <a:xfrm>
            <a:off x="735634" y="2057513"/>
            <a:ext cx="376755" cy="658782"/>
          </a:xfrm>
          <a:custGeom>
            <a:avLst/>
            <a:gdLst/>
            <a:ahLst/>
            <a:cxnLst>
              <a:cxn ang="0">
                <a:pos x="841" y="2672"/>
              </a:cxn>
              <a:cxn ang="0">
                <a:pos x="841" y="881"/>
              </a:cxn>
              <a:cxn ang="0">
                <a:pos x="393" y="1334"/>
              </a:cxn>
              <a:cxn ang="0">
                <a:pos x="0" y="921"/>
              </a:cxn>
              <a:cxn ang="0">
                <a:pos x="933" y="0"/>
              </a:cxn>
              <a:cxn ang="0">
                <a:pos x="1530" y="0"/>
              </a:cxn>
              <a:cxn ang="0">
                <a:pos x="1530" y="2672"/>
              </a:cxn>
              <a:cxn ang="0">
                <a:pos x="841" y="2672"/>
              </a:cxn>
            </a:cxnLst>
            <a:rect l="0" t="0" r="r" b="b"/>
            <a:pathLst>
              <a:path w="1530" h="2672">
                <a:moveTo>
                  <a:pt x="841" y="2672"/>
                </a:moveTo>
                <a:lnTo>
                  <a:pt x="841" y="881"/>
                </a:lnTo>
                <a:lnTo>
                  <a:pt x="393" y="1334"/>
                </a:lnTo>
                <a:lnTo>
                  <a:pt x="0" y="921"/>
                </a:lnTo>
                <a:lnTo>
                  <a:pt x="933" y="0"/>
                </a:lnTo>
                <a:lnTo>
                  <a:pt x="1530" y="0"/>
                </a:lnTo>
                <a:lnTo>
                  <a:pt x="1530" y="2672"/>
                </a:lnTo>
                <a:lnTo>
                  <a:pt x="841" y="2672"/>
                </a:lnTo>
                <a:close/>
              </a:path>
            </a:pathLst>
          </a:custGeom>
          <a:solidFill>
            <a:srgbClr val="DAE3F3">
              <a:alpha val="81961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hangingPunct="1"/>
            <a:endParaRPr lang="ru-RU" sz="1800" kern="1200">
              <a:solidFill>
                <a:prstClr val="black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613792" y="3759419"/>
            <a:ext cx="1005012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400" hangingPunct="1"/>
            <a:r>
              <a:rPr lang="ru-RU" sz="2800" kern="1200" dirty="0">
                <a:solidFill>
                  <a:prstClr val="black"/>
                </a:solidFill>
                <a:latin typeface="Calibri Light"/>
              </a:rPr>
              <a:t>ведущей формой учебной деятельности в ходе освоения предметной области «Технология» является </a:t>
            </a:r>
            <a:r>
              <a:rPr lang="ru-RU" sz="2800" b="1" kern="1200" dirty="0">
                <a:solidFill>
                  <a:srgbClr val="C00000"/>
                </a:solidFill>
                <a:latin typeface="Calibri Light"/>
              </a:rPr>
              <a:t>проектная деятельность в полном цикле: «от выделения проблемы до внедрения </a:t>
            </a:r>
            <a:r>
              <a:rPr lang="ru-RU" sz="2800" b="1" kern="1200" dirty="0" smtClean="0">
                <a:solidFill>
                  <a:srgbClr val="C00000"/>
                </a:solidFill>
                <a:latin typeface="Calibri Light"/>
              </a:rPr>
              <a:t>результата»</a:t>
            </a:r>
            <a:endParaRPr lang="ru-RU" sz="2800" b="1" kern="1200" dirty="0">
              <a:solidFill>
                <a:srgbClr val="C00000"/>
              </a:solidFill>
              <a:latin typeface="Calibri Ligh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нцепция развития предметной области «Технология»</a:t>
            </a:r>
            <a:endParaRPr lang="ru-RU" dirty="0"/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654901" y="4333125"/>
            <a:ext cx="538221" cy="668470"/>
          </a:xfrm>
          <a:custGeom>
            <a:avLst/>
            <a:gdLst/>
            <a:ahLst/>
            <a:cxnLst>
              <a:cxn ang="0">
                <a:pos x="88" y="2711"/>
              </a:cxn>
              <a:cxn ang="0">
                <a:pos x="88" y="2175"/>
              </a:cxn>
              <a:cxn ang="0">
                <a:pos x="791" y="1658"/>
              </a:cxn>
              <a:cxn ang="0">
                <a:pos x="1210" y="1315"/>
              </a:cxn>
              <a:cxn ang="0">
                <a:pos x="1410" y="1083"/>
              </a:cxn>
              <a:cxn ang="0">
                <a:pos x="1462" y="889"/>
              </a:cxn>
              <a:cxn ang="0">
                <a:pos x="1352" y="679"/>
              </a:cxn>
              <a:cxn ang="0">
                <a:pos x="1094" y="608"/>
              </a:cxn>
              <a:cxn ang="0">
                <a:pos x="697" y="687"/>
              </a:cxn>
              <a:cxn ang="0">
                <a:pos x="381" y="901"/>
              </a:cxn>
              <a:cxn ang="0">
                <a:pos x="0" y="444"/>
              </a:cxn>
              <a:cxn ang="0">
                <a:pos x="236" y="244"/>
              </a:cxn>
              <a:cxn ang="0">
                <a:pos x="507" y="106"/>
              </a:cxn>
              <a:cxn ang="0">
                <a:pos x="795" y="26"/>
              </a:cxn>
              <a:cxn ang="0">
                <a:pos x="1082" y="0"/>
              </a:cxn>
              <a:cxn ang="0">
                <a:pos x="1516" y="64"/>
              </a:cxn>
              <a:cxn ang="0">
                <a:pos x="1859" y="244"/>
              </a:cxn>
              <a:cxn ang="0">
                <a:pos x="2083" y="524"/>
              </a:cxn>
              <a:cxn ang="0">
                <a:pos x="2163" y="889"/>
              </a:cxn>
              <a:cxn ang="0">
                <a:pos x="2107" y="1187"/>
              </a:cxn>
              <a:cxn ang="0">
                <a:pos x="1933" y="1480"/>
              </a:cxn>
              <a:cxn ang="0">
                <a:pos x="1634" y="1782"/>
              </a:cxn>
              <a:cxn ang="0">
                <a:pos x="1206" y="2110"/>
              </a:cxn>
              <a:cxn ang="0">
                <a:pos x="2183" y="2110"/>
              </a:cxn>
              <a:cxn ang="0">
                <a:pos x="2183" y="2711"/>
              </a:cxn>
              <a:cxn ang="0">
                <a:pos x="88" y="2711"/>
              </a:cxn>
            </a:cxnLst>
            <a:rect l="0" t="0" r="r" b="b"/>
            <a:pathLst>
              <a:path w="2183" h="2711">
                <a:moveTo>
                  <a:pt x="88" y="2711"/>
                </a:moveTo>
                <a:lnTo>
                  <a:pt x="88" y="2175"/>
                </a:lnTo>
                <a:cubicBezTo>
                  <a:pt x="377" y="1966"/>
                  <a:pt x="611" y="1794"/>
                  <a:pt x="791" y="1658"/>
                </a:cubicBezTo>
                <a:cubicBezTo>
                  <a:pt x="971" y="1522"/>
                  <a:pt x="1111" y="1408"/>
                  <a:pt x="1210" y="1315"/>
                </a:cubicBezTo>
                <a:cubicBezTo>
                  <a:pt x="1309" y="1223"/>
                  <a:pt x="1375" y="1146"/>
                  <a:pt x="1410" y="1083"/>
                </a:cubicBezTo>
                <a:cubicBezTo>
                  <a:pt x="1445" y="1020"/>
                  <a:pt x="1462" y="956"/>
                  <a:pt x="1462" y="889"/>
                </a:cubicBezTo>
                <a:cubicBezTo>
                  <a:pt x="1462" y="795"/>
                  <a:pt x="1425" y="725"/>
                  <a:pt x="1352" y="679"/>
                </a:cubicBezTo>
                <a:cubicBezTo>
                  <a:pt x="1279" y="632"/>
                  <a:pt x="1192" y="608"/>
                  <a:pt x="1094" y="608"/>
                </a:cubicBezTo>
                <a:cubicBezTo>
                  <a:pt x="944" y="608"/>
                  <a:pt x="812" y="634"/>
                  <a:pt x="697" y="687"/>
                </a:cubicBezTo>
                <a:cubicBezTo>
                  <a:pt x="582" y="739"/>
                  <a:pt x="477" y="810"/>
                  <a:pt x="381" y="901"/>
                </a:cubicBezTo>
                <a:lnTo>
                  <a:pt x="0" y="444"/>
                </a:lnTo>
                <a:cubicBezTo>
                  <a:pt x="72" y="367"/>
                  <a:pt x="151" y="300"/>
                  <a:pt x="236" y="244"/>
                </a:cubicBezTo>
                <a:cubicBezTo>
                  <a:pt x="322" y="188"/>
                  <a:pt x="412" y="142"/>
                  <a:pt x="507" y="106"/>
                </a:cubicBezTo>
                <a:cubicBezTo>
                  <a:pt x="602" y="70"/>
                  <a:pt x="698" y="43"/>
                  <a:pt x="795" y="26"/>
                </a:cubicBezTo>
                <a:cubicBezTo>
                  <a:pt x="893" y="8"/>
                  <a:pt x="988" y="0"/>
                  <a:pt x="1082" y="0"/>
                </a:cubicBezTo>
                <a:cubicBezTo>
                  <a:pt x="1239" y="0"/>
                  <a:pt x="1384" y="21"/>
                  <a:pt x="1516" y="64"/>
                </a:cubicBezTo>
                <a:cubicBezTo>
                  <a:pt x="1648" y="106"/>
                  <a:pt x="1763" y="166"/>
                  <a:pt x="1859" y="244"/>
                </a:cubicBezTo>
                <a:cubicBezTo>
                  <a:pt x="1955" y="321"/>
                  <a:pt x="2030" y="415"/>
                  <a:pt x="2083" y="524"/>
                </a:cubicBezTo>
                <a:cubicBezTo>
                  <a:pt x="2136" y="634"/>
                  <a:pt x="2163" y="755"/>
                  <a:pt x="2163" y="889"/>
                </a:cubicBezTo>
                <a:cubicBezTo>
                  <a:pt x="2163" y="990"/>
                  <a:pt x="2144" y="1090"/>
                  <a:pt x="2107" y="1187"/>
                </a:cubicBezTo>
                <a:cubicBezTo>
                  <a:pt x="2070" y="1285"/>
                  <a:pt x="2012" y="1382"/>
                  <a:pt x="1933" y="1480"/>
                </a:cubicBezTo>
                <a:cubicBezTo>
                  <a:pt x="1854" y="1577"/>
                  <a:pt x="1755" y="1678"/>
                  <a:pt x="1634" y="1782"/>
                </a:cubicBezTo>
                <a:cubicBezTo>
                  <a:pt x="1514" y="1886"/>
                  <a:pt x="1371" y="1996"/>
                  <a:pt x="1206" y="2110"/>
                </a:cubicBezTo>
                <a:lnTo>
                  <a:pt x="2183" y="2110"/>
                </a:lnTo>
                <a:lnTo>
                  <a:pt x="2183" y="2711"/>
                </a:lnTo>
                <a:lnTo>
                  <a:pt x="88" y="2711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  <a:alpha val="82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hangingPunct="1"/>
            <a:endParaRPr lang="ru-RU" sz="1800" kern="1200">
              <a:solidFill>
                <a:prstClr val="black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613792" y="1478963"/>
            <a:ext cx="1005012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400" hangingPunct="1"/>
            <a:r>
              <a:rPr lang="ru-RU" sz="2800" kern="1200" dirty="0" smtClean="0">
                <a:solidFill>
                  <a:prstClr val="black"/>
                </a:solidFill>
                <a:latin typeface="Calibri Light"/>
              </a:rPr>
              <a:t>… на </a:t>
            </a:r>
            <a:r>
              <a:rPr lang="ru-RU" sz="2800" kern="1200" dirty="0">
                <a:solidFill>
                  <a:prstClr val="black"/>
                </a:solidFill>
                <a:latin typeface="Calibri Light"/>
              </a:rPr>
              <a:t>каждом из уровней образования соответствующим образом и преемственно должны быть представлены следующие технологии: цифровые технологии, </a:t>
            </a:r>
            <a:r>
              <a:rPr lang="ru-RU" sz="2800" kern="1200" dirty="0" smtClean="0">
                <a:solidFill>
                  <a:prstClr val="black"/>
                </a:solidFill>
                <a:latin typeface="Calibri Light"/>
              </a:rPr>
              <a:t>… </a:t>
            </a:r>
            <a:r>
              <a:rPr lang="ru-RU" sz="2800" b="1" kern="1200" dirty="0" smtClean="0">
                <a:solidFill>
                  <a:srgbClr val="C00000"/>
                </a:solidFill>
                <a:latin typeface="Calibri Light"/>
              </a:rPr>
              <a:t>технологии </a:t>
            </a:r>
            <a:r>
              <a:rPr lang="ru-RU" sz="2800" b="1" kern="1200" dirty="0" err="1">
                <a:solidFill>
                  <a:srgbClr val="C00000"/>
                </a:solidFill>
                <a:latin typeface="Calibri Light"/>
              </a:rPr>
              <a:t>здоровьесбережения</a:t>
            </a:r>
            <a:r>
              <a:rPr lang="ru-RU" sz="2800" b="1" kern="1200" dirty="0">
                <a:solidFill>
                  <a:srgbClr val="C00000"/>
                </a:solidFill>
                <a:latin typeface="Calibri Light"/>
              </a:rPr>
              <a:t>, </a:t>
            </a:r>
            <a:r>
              <a:rPr lang="ru-RU" sz="2800" b="1" kern="1200" dirty="0" err="1">
                <a:solidFill>
                  <a:srgbClr val="C00000"/>
                </a:solidFill>
                <a:latin typeface="Calibri Light"/>
              </a:rPr>
              <a:t>природоподобные</a:t>
            </a:r>
            <a:r>
              <a:rPr lang="ru-RU" sz="2800" b="1" kern="1200" dirty="0">
                <a:solidFill>
                  <a:srgbClr val="C00000"/>
                </a:solidFill>
                <a:latin typeface="Calibri Light"/>
              </a:rPr>
              <a:t> </a:t>
            </a:r>
            <a:r>
              <a:rPr lang="ru-RU" sz="2800" b="1" kern="1200" dirty="0" smtClean="0">
                <a:solidFill>
                  <a:srgbClr val="C00000"/>
                </a:solidFill>
                <a:latin typeface="Calibri Light"/>
              </a:rPr>
              <a:t>технологии, </a:t>
            </a:r>
            <a:r>
              <a:rPr lang="ru-RU" sz="2800" kern="1200" dirty="0" smtClean="0">
                <a:solidFill>
                  <a:prstClr val="black"/>
                </a:solidFill>
                <a:latin typeface="Calibri Light"/>
              </a:rPr>
              <a:t>…</a:t>
            </a:r>
            <a:endParaRPr lang="ru-RU" sz="2800" kern="1200" dirty="0">
              <a:solidFill>
                <a:prstClr val="black"/>
              </a:solidFill>
              <a:latin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1295823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нцепция развития предметной области «Технология»</a:t>
            </a:r>
            <a:endParaRPr lang="ru-RU" dirty="0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651672" y="2020379"/>
            <a:ext cx="544679" cy="680311"/>
          </a:xfrm>
          <a:custGeom>
            <a:avLst/>
            <a:gdLst/>
            <a:ahLst/>
            <a:cxnLst>
              <a:cxn ang="0">
                <a:pos x="1106" y="2760"/>
              </a:cxn>
              <a:cxn ang="0">
                <a:pos x="437" y="2640"/>
              </a:cxn>
              <a:cxn ang="0">
                <a:pos x="0" y="2339"/>
              </a:cxn>
              <a:cxn ang="0">
                <a:pos x="348" y="1871"/>
              </a:cxn>
              <a:cxn ang="0">
                <a:pos x="511" y="1995"/>
              </a:cxn>
              <a:cxn ang="0">
                <a:pos x="697" y="2081"/>
              </a:cxn>
              <a:cxn ang="0">
                <a:pos x="891" y="2133"/>
              </a:cxn>
              <a:cxn ang="0">
                <a:pos x="1077" y="2151"/>
              </a:cxn>
              <a:cxn ang="0">
                <a:pos x="1414" y="2077"/>
              </a:cxn>
              <a:cxn ang="0">
                <a:pos x="1526" y="1891"/>
              </a:cxn>
              <a:cxn ang="0">
                <a:pos x="1424" y="1722"/>
              </a:cxn>
              <a:cxn ang="0">
                <a:pos x="1049" y="1666"/>
              </a:cxn>
              <a:cxn ang="0">
                <a:pos x="949" y="1666"/>
              </a:cxn>
              <a:cxn ang="0">
                <a:pos x="841" y="1666"/>
              </a:cxn>
              <a:cxn ang="0">
                <a:pos x="747" y="1668"/>
              </a:cxn>
              <a:cxn ang="0">
                <a:pos x="689" y="1670"/>
              </a:cxn>
              <a:cxn ang="0">
                <a:pos x="689" y="1057"/>
              </a:cxn>
              <a:cxn ang="0">
                <a:pos x="753" y="1059"/>
              </a:cxn>
              <a:cxn ang="0">
                <a:pos x="851" y="1061"/>
              </a:cxn>
              <a:cxn ang="0">
                <a:pos x="959" y="1061"/>
              </a:cxn>
              <a:cxn ang="0">
                <a:pos x="1049" y="1061"/>
              </a:cxn>
              <a:cxn ang="0">
                <a:pos x="1370" y="1009"/>
              </a:cxn>
              <a:cxn ang="0">
                <a:pos x="1482" y="853"/>
              </a:cxn>
              <a:cxn ang="0">
                <a:pos x="1354" y="667"/>
              </a:cxn>
              <a:cxn ang="0">
                <a:pos x="1033" y="609"/>
              </a:cxn>
              <a:cxn ang="0">
                <a:pos x="368" y="865"/>
              </a:cxn>
              <a:cxn ang="0">
                <a:pos x="36" y="433"/>
              </a:cxn>
              <a:cxn ang="0">
                <a:pos x="469" y="120"/>
              </a:cxn>
              <a:cxn ang="0">
                <a:pos x="1106" y="0"/>
              </a:cxn>
              <a:cxn ang="0">
                <a:pos x="1893" y="200"/>
              </a:cxn>
              <a:cxn ang="0">
                <a:pos x="2167" y="733"/>
              </a:cxn>
              <a:cxn ang="0">
                <a:pos x="2121" y="951"/>
              </a:cxn>
              <a:cxn ang="0">
                <a:pos x="1995" y="1132"/>
              </a:cxn>
              <a:cxn ang="0">
                <a:pos x="1808" y="1262"/>
              </a:cxn>
              <a:cxn ang="0">
                <a:pos x="1582" y="1334"/>
              </a:cxn>
              <a:cxn ang="0">
                <a:pos x="1800" y="1392"/>
              </a:cxn>
              <a:cxn ang="0">
                <a:pos x="2003" y="1518"/>
              </a:cxn>
              <a:cxn ang="0">
                <a:pos x="2153" y="1710"/>
              </a:cxn>
              <a:cxn ang="0">
                <a:pos x="2211" y="1967"/>
              </a:cxn>
              <a:cxn ang="0">
                <a:pos x="2131" y="2289"/>
              </a:cxn>
              <a:cxn ang="0">
                <a:pos x="1907" y="2539"/>
              </a:cxn>
              <a:cxn ang="0">
                <a:pos x="1558" y="2702"/>
              </a:cxn>
              <a:cxn ang="0">
                <a:pos x="1106" y="2760"/>
              </a:cxn>
            </a:cxnLst>
            <a:rect l="0" t="0" r="r" b="b"/>
            <a:pathLst>
              <a:path w="2211" h="2760">
                <a:moveTo>
                  <a:pt x="1106" y="2760"/>
                </a:moveTo>
                <a:cubicBezTo>
                  <a:pt x="846" y="2760"/>
                  <a:pt x="624" y="2720"/>
                  <a:pt x="437" y="2640"/>
                </a:cubicBezTo>
                <a:cubicBezTo>
                  <a:pt x="250" y="2559"/>
                  <a:pt x="104" y="2459"/>
                  <a:pt x="0" y="2339"/>
                </a:cubicBezTo>
                <a:lnTo>
                  <a:pt x="348" y="1871"/>
                </a:lnTo>
                <a:cubicBezTo>
                  <a:pt x="397" y="1919"/>
                  <a:pt x="451" y="1960"/>
                  <a:pt x="511" y="1995"/>
                </a:cubicBezTo>
                <a:cubicBezTo>
                  <a:pt x="571" y="2029"/>
                  <a:pt x="633" y="2058"/>
                  <a:pt x="697" y="2081"/>
                </a:cubicBezTo>
                <a:cubicBezTo>
                  <a:pt x="761" y="2104"/>
                  <a:pt x="826" y="2121"/>
                  <a:pt x="891" y="2133"/>
                </a:cubicBezTo>
                <a:cubicBezTo>
                  <a:pt x="957" y="2145"/>
                  <a:pt x="1019" y="2151"/>
                  <a:pt x="1077" y="2151"/>
                </a:cubicBezTo>
                <a:cubicBezTo>
                  <a:pt x="1227" y="2151"/>
                  <a:pt x="1339" y="2126"/>
                  <a:pt x="1414" y="2077"/>
                </a:cubicBezTo>
                <a:cubicBezTo>
                  <a:pt x="1489" y="2027"/>
                  <a:pt x="1526" y="1965"/>
                  <a:pt x="1526" y="1891"/>
                </a:cubicBezTo>
                <a:cubicBezTo>
                  <a:pt x="1526" y="1816"/>
                  <a:pt x="1492" y="1760"/>
                  <a:pt x="1424" y="1722"/>
                </a:cubicBezTo>
                <a:cubicBezTo>
                  <a:pt x="1356" y="1685"/>
                  <a:pt x="1231" y="1666"/>
                  <a:pt x="1049" y="1666"/>
                </a:cubicBezTo>
                <a:cubicBezTo>
                  <a:pt x="1020" y="1666"/>
                  <a:pt x="987" y="1666"/>
                  <a:pt x="949" y="1666"/>
                </a:cubicBezTo>
                <a:cubicBezTo>
                  <a:pt x="912" y="1666"/>
                  <a:pt x="876" y="1666"/>
                  <a:pt x="841" y="1666"/>
                </a:cubicBezTo>
                <a:cubicBezTo>
                  <a:pt x="806" y="1666"/>
                  <a:pt x="775" y="1667"/>
                  <a:pt x="747" y="1668"/>
                </a:cubicBezTo>
                <a:cubicBezTo>
                  <a:pt x="719" y="1670"/>
                  <a:pt x="700" y="1670"/>
                  <a:pt x="689" y="1670"/>
                </a:cubicBezTo>
                <a:lnTo>
                  <a:pt x="689" y="1057"/>
                </a:lnTo>
                <a:cubicBezTo>
                  <a:pt x="702" y="1057"/>
                  <a:pt x="724" y="1058"/>
                  <a:pt x="753" y="1059"/>
                </a:cubicBezTo>
                <a:cubicBezTo>
                  <a:pt x="782" y="1061"/>
                  <a:pt x="815" y="1061"/>
                  <a:pt x="851" y="1061"/>
                </a:cubicBezTo>
                <a:cubicBezTo>
                  <a:pt x="887" y="1061"/>
                  <a:pt x="923" y="1061"/>
                  <a:pt x="959" y="1061"/>
                </a:cubicBezTo>
                <a:cubicBezTo>
                  <a:pt x="995" y="1061"/>
                  <a:pt x="1025" y="1061"/>
                  <a:pt x="1049" y="1061"/>
                </a:cubicBezTo>
                <a:cubicBezTo>
                  <a:pt x="1188" y="1061"/>
                  <a:pt x="1295" y="1044"/>
                  <a:pt x="1370" y="1009"/>
                </a:cubicBezTo>
                <a:cubicBezTo>
                  <a:pt x="1445" y="975"/>
                  <a:pt x="1482" y="923"/>
                  <a:pt x="1482" y="853"/>
                </a:cubicBezTo>
                <a:cubicBezTo>
                  <a:pt x="1482" y="768"/>
                  <a:pt x="1439" y="706"/>
                  <a:pt x="1354" y="667"/>
                </a:cubicBezTo>
                <a:cubicBezTo>
                  <a:pt x="1268" y="628"/>
                  <a:pt x="1162" y="609"/>
                  <a:pt x="1033" y="609"/>
                </a:cubicBezTo>
                <a:cubicBezTo>
                  <a:pt x="782" y="609"/>
                  <a:pt x="561" y="694"/>
                  <a:pt x="368" y="865"/>
                </a:cubicBezTo>
                <a:lnTo>
                  <a:pt x="36" y="433"/>
                </a:lnTo>
                <a:cubicBezTo>
                  <a:pt x="148" y="304"/>
                  <a:pt x="292" y="200"/>
                  <a:pt x="469" y="120"/>
                </a:cubicBezTo>
                <a:cubicBezTo>
                  <a:pt x="645" y="40"/>
                  <a:pt x="857" y="0"/>
                  <a:pt x="1106" y="0"/>
                </a:cubicBezTo>
                <a:cubicBezTo>
                  <a:pt x="1447" y="0"/>
                  <a:pt x="1710" y="67"/>
                  <a:pt x="1893" y="200"/>
                </a:cubicBezTo>
                <a:cubicBezTo>
                  <a:pt x="2075" y="334"/>
                  <a:pt x="2167" y="511"/>
                  <a:pt x="2167" y="733"/>
                </a:cubicBezTo>
                <a:cubicBezTo>
                  <a:pt x="2167" y="810"/>
                  <a:pt x="2152" y="883"/>
                  <a:pt x="2121" y="951"/>
                </a:cubicBezTo>
                <a:cubicBezTo>
                  <a:pt x="2090" y="1019"/>
                  <a:pt x="2048" y="1079"/>
                  <a:pt x="1995" y="1132"/>
                </a:cubicBezTo>
                <a:cubicBezTo>
                  <a:pt x="1941" y="1184"/>
                  <a:pt x="1879" y="1227"/>
                  <a:pt x="1808" y="1262"/>
                </a:cubicBezTo>
                <a:cubicBezTo>
                  <a:pt x="1738" y="1296"/>
                  <a:pt x="1662" y="1320"/>
                  <a:pt x="1582" y="1334"/>
                </a:cubicBezTo>
                <a:cubicBezTo>
                  <a:pt x="1654" y="1342"/>
                  <a:pt x="1727" y="1361"/>
                  <a:pt x="1800" y="1392"/>
                </a:cubicBezTo>
                <a:cubicBezTo>
                  <a:pt x="1874" y="1423"/>
                  <a:pt x="1941" y="1465"/>
                  <a:pt x="2003" y="1518"/>
                </a:cubicBezTo>
                <a:cubicBezTo>
                  <a:pt x="2064" y="1571"/>
                  <a:pt x="2114" y="1636"/>
                  <a:pt x="2153" y="1710"/>
                </a:cubicBezTo>
                <a:cubicBezTo>
                  <a:pt x="2192" y="1785"/>
                  <a:pt x="2211" y="1871"/>
                  <a:pt x="2211" y="1967"/>
                </a:cubicBezTo>
                <a:cubicBezTo>
                  <a:pt x="2211" y="2084"/>
                  <a:pt x="2184" y="2192"/>
                  <a:pt x="2131" y="2289"/>
                </a:cubicBezTo>
                <a:cubicBezTo>
                  <a:pt x="2077" y="2387"/>
                  <a:pt x="2003" y="2470"/>
                  <a:pt x="1907" y="2539"/>
                </a:cubicBezTo>
                <a:cubicBezTo>
                  <a:pt x="1810" y="2609"/>
                  <a:pt x="1694" y="2663"/>
                  <a:pt x="1558" y="2702"/>
                </a:cubicBezTo>
                <a:cubicBezTo>
                  <a:pt x="1422" y="2740"/>
                  <a:pt x="1271" y="2760"/>
                  <a:pt x="1106" y="2760"/>
                </a:cubicBezTo>
                <a:close/>
              </a:path>
            </a:pathLst>
          </a:custGeom>
          <a:solidFill>
            <a:srgbClr val="DAE3F3">
              <a:alpha val="81961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hangingPunct="1"/>
            <a:endParaRPr lang="ru-RU" sz="1800" kern="1200">
              <a:solidFill>
                <a:prstClr val="black"/>
              </a:solidFill>
            </a:endParaRPr>
          </a:p>
        </p:txBody>
      </p:sp>
      <p:sp>
        <p:nvSpPr>
          <p:cNvPr id="9" name="Freeform 8"/>
          <p:cNvSpPr>
            <a:spLocks noEditPoints="1"/>
          </p:cNvSpPr>
          <p:nvPr/>
        </p:nvSpPr>
        <p:spPr bwMode="auto">
          <a:xfrm>
            <a:off x="641445" y="4033407"/>
            <a:ext cx="565132" cy="658782"/>
          </a:xfrm>
          <a:custGeom>
            <a:avLst/>
            <a:gdLst/>
            <a:ahLst/>
            <a:cxnLst>
              <a:cxn ang="0">
                <a:pos x="1278" y="2672"/>
              </a:cxn>
              <a:cxn ang="0">
                <a:pos x="1278" y="2183"/>
              </a:cxn>
              <a:cxn ang="0">
                <a:pos x="0" y="2183"/>
              </a:cxn>
              <a:cxn ang="0">
                <a:pos x="0" y="1647"/>
              </a:cxn>
              <a:cxn ang="0">
                <a:pos x="1013" y="0"/>
              </a:cxn>
              <a:cxn ang="0">
                <a:pos x="1971" y="0"/>
              </a:cxn>
              <a:cxn ang="0">
                <a:pos x="1971" y="1579"/>
              </a:cxn>
              <a:cxn ang="0">
                <a:pos x="2295" y="1579"/>
              </a:cxn>
              <a:cxn ang="0">
                <a:pos x="2295" y="2183"/>
              </a:cxn>
              <a:cxn ang="0">
                <a:pos x="1971" y="2183"/>
              </a:cxn>
              <a:cxn ang="0">
                <a:pos x="1971" y="2672"/>
              </a:cxn>
              <a:cxn ang="0">
                <a:pos x="1278" y="2672"/>
              </a:cxn>
              <a:cxn ang="0">
                <a:pos x="1278" y="601"/>
              </a:cxn>
              <a:cxn ang="0">
                <a:pos x="669" y="1579"/>
              </a:cxn>
              <a:cxn ang="0">
                <a:pos x="1278" y="1579"/>
              </a:cxn>
              <a:cxn ang="0">
                <a:pos x="1278" y="601"/>
              </a:cxn>
            </a:cxnLst>
            <a:rect l="0" t="0" r="r" b="b"/>
            <a:pathLst>
              <a:path w="2295" h="2672">
                <a:moveTo>
                  <a:pt x="1278" y="2672"/>
                </a:moveTo>
                <a:lnTo>
                  <a:pt x="1278" y="2183"/>
                </a:lnTo>
                <a:lnTo>
                  <a:pt x="0" y="2183"/>
                </a:lnTo>
                <a:lnTo>
                  <a:pt x="0" y="1647"/>
                </a:lnTo>
                <a:lnTo>
                  <a:pt x="1013" y="0"/>
                </a:lnTo>
                <a:lnTo>
                  <a:pt x="1971" y="0"/>
                </a:lnTo>
                <a:lnTo>
                  <a:pt x="1971" y="1579"/>
                </a:lnTo>
                <a:lnTo>
                  <a:pt x="2295" y="1579"/>
                </a:lnTo>
                <a:lnTo>
                  <a:pt x="2295" y="2183"/>
                </a:lnTo>
                <a:lnTo>
                  <a:pt x="1971" y="2183"/>
                </a:lnTo>
                <a:lnTo>
                  <a:pt x="1971" y="2672"/>
                </a:lnTo>
                <a:lnTo>
                  <a:pt x="1278" y="2672"/>
                </a:lnTo>
                <a:close/>
                <a:moveTo>
                  <a:pt x="1278" y="601"/>
                </a:moveTo>
                <a:lnTo>
                  <a:pt x="669" y="1579"/>
                </a:lnTo>
                <a:lnTo>
                  <a:pt x="1278" y="1579"/>
                </a:lnTo>
                <a:lnTo>
                  <a:pt x="1278" y="601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  <a:alpha val="82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hangingPunct="1"/>
            <a:endParaRPr lang="ru-RU" sz="1800" kern="1200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613793" y="1452593"/>
            <a:ext cx="100501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400" hangingPunct="1"/>
            <a:r>
              <a:rPr lang="ru-RU" sz="2800" kern="1200" dirty="0" smtClean="0">
                <a:solidFill>
                  <a:prstClr val="black"/>
                </a:solidFill>
                <a:latin typeface="Calibri Light"/>
              </a:rPr>
              <a:t>… целесообразно </a:t>
            </a:r>
            <a:r>
              <a:rPr lang="ru-RU" sz="2800" b="1" kern="1200" dirty="0" smtClean="0">
                <a:solidFill>
                  <a:srgbClr val="C00000"/>
                </a:solidFill>
                <a:latin typeface="Calibri Light"/>
              </a:rPr>
              <a:t>интегрировать ИКТ в учебный предмет «Технология»</a:t>
            </a:r>
            <a:r>
              <a:rPr lang="ru-RU" sz="2800" kern="1200" dirty="0" smtClean="0">
                <a:solidFill>
                  <a:prstClr val="black"/>
                </a:solidFill>
                <a:latin typeface="Calibri Light"/>
              </a:rPr>
              <a:t>; при </a:t>
            </a:r>
            <a:r>
              <a:rPr lang="ru-RU" sz="2800" kern="1200" dirty="0">
                <a:solidFill>
                  <a:prstClr val="black"/>
                </a:solidFill>
                <a:latin typeface="Calibri Light"/>
              </a:rPr>
              <a:t>этом учитель информатики может обеспечивать </a:t>
            </a:r>
            <a:r>
              <a:rPr lang="ru-RU" sz="2800" kern="1200" dirty="0" smtClean="0">
                <a:solidFill>
                  <a:prstClr val="black"/>
                </a:solidFill>
                <a:latin typeface="Calibri Light"/>
              </a:rPr>
              <a:t>… преподавание </a:t>
            </a:r>
            <a:r>
              <a:rPr lang="ru-RU" sz="2800" kern="1200" dirty="0">
                <a:solidFill>
                  <a:prstClr val="black"/>
                </a:solidFill>
                <a:latin typeface="Calibri Light"/>
              </a:rPr>
              <a:t>ИКТ в </a:t>
            </a:r>
            <a:r>
              <a:rPr lang="ru-RU" sz="2800" kern="1200" dirty="0" smtClean="0">
                <a:solidFill>
                  <a:prstClr val="black"/>
                </a:solidFill>
                <a:latin typeface="Calibri Light"/>
              </a:rPr>
              <a:t>предметной </a:t>
            </a:r>
            <a:r>
              <a:rPr lang="ru-RU" sz="2800" kern="1200" dirty="0">
                <a:solidFill>
                  <a:prstClr val="black"/>
                </a:solidFill>
                <a:latin typeface="Calibri Light"/>
              </a:rPr>
              <a:t>области «Технология</a:t>
            </a:r>
            <a:r>
              <a:rPr lang="ru-RU" sz="2800" kern="1200" dirty="0" smtClean="0">
                <a:solidFill>
                  <a:prstClr val="black"/>
                </a:solidFill>
                <a:latin typeface="Calibri Light"/>
              </a:rPr>
              <a:t>» …</a:t>
            </a:r>
            <a:endParaRPr lang="ru-RU" sz="2800" kern="1200" dirty="0">
              <a:solidFill>
                <a:prstClr val="black"/>
              </a:solidFill>
              <a:latin typeface="Calibri Light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613793" y="3670301"/>
            <a:ext cx="1005012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400" hangingPunct="1"/>
            <a:r>
              <a:rPr lang="ru-RU" sz="2800" b="1" kern="1200" dirty="0">
                <a:solidFill>
                  <a:srgbClr val="C00000"/>
                </a:solidFill>
                <a:latin typeface="Calibri Light"/>
              </a:rPr>
              <a:t>оценивание результатов проектной деятельности </a:t>
            </a:r>
            <a:r>
              <a:rPr lang="ru-RU" sz="2800" kern="1200" dirty="0">
                <a:solidFill>
                  <a:prstClr val="black"/>
                </a:solidFill>
                <a:latin typeface="Calibri Light"/>
              </a:rPr>
              <a:t>с участием в этой системе известных </a:t>
            </a:r>
            <a:r>
              <a:rPr lang="ru-RU" sz="2800" b="1" kern="1200" dirty="0">
                <a:solidFill>
                  <a:srgbClr val="C00000"/>
                </a:solidFill>
                <a:latin typeface="Calibri Light"/>
              </a:rPr>
              <a:t>изобретателей, </a:t>
            </a:r>
            <a:r>
              <a:rPr lang="ru-RU" sz="2800" b="1" kern="1200" dirty="0" err="1">
                <a:solidFill>
                  <a:srgbClr val="C00000"/>
                </a:solidFill>
                <a:latin typeface="Calibri Light"/>
              </a:rPr>
              <a:t>ученых</a:t>
            </a:r>
            <a:r>
              <a:rPr lang="ru-RU" sz="2800" b="1" kern="1200" dirty="0">
                <a:solidFill>
                  <a:srgbClr val="C00000"/>
                </a:solidFill>
                <a:latin typeface="Calibri Light"/>
              </a:rPr>
              <a:t>, бизнесменов </a:t>
            </a:r>
            <a:r>
              <a:rPr lang="ru-RU" sz="2800" kern="1200" dirty="0">
                <a:solidFill>
                  <a:prstClr val="black"/>
                </a:solidFill>
                <a:latin typeface="Calibri Light"/>
              </a:rPr>
              <a:t>с целью популяризации технологического образования</a:t>
            </a:r>
          </a:p>
        </p:txBody>
      </p:sp>
    </p:spTree>
    <p:extLst>
      <p:ext uri="{BB962C8B-B14F-4D97-AF65-F5344CB8AC3E}">
        <p14:creationId xmlns:p14="http://schemas.microsoft.com/office/powerpoint/2010/main" val="96038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нцепция развития предметной области «Технология»</a:t>
            </a:r>
            <a:endParaRPr lang="ru-RU" dirty="0"/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652210" y="3263111"/>
            <a:ext cx="543603" cy="670623"/>
          </a:xfrm>
          <a:custGeom>
            <a:avLst/>
            <a:gdLst/>
            <a:ahLst/>
            <a:cxnLst>
              <a:cxn ang="0">
                <a:pos x="1078" y="2720"/>
              </a:cxn>
              <a:cxn ang="0">
                <a:pos x="455" y="2618"/>
              </a:cxn>
              <a:cxn ang="0">
                <a:pos x="0" y="2331"/>
              </a:cxn>
              <a:cxn ang="0">
                <a:pos x="377" y="1851"/>
              </a:cxn>
              <a:cxn ang="0">
                <a:pos x="697" y="2045"/>
              </a:cxn>
              <a:cxn ang="0">
                <a:pos x="1070" y="2111"/>
              </a:cxn>
              <a:cxn ang="0">
                <a:pos x="1398" y="2019"/>
              </a:cxn>
              <a:cxn ang="0">
                <a:pos x="1506" y="1803"/>
              </a:cxn>
              <a:cxn ang="0">
                <a:pos x="1402" y="1580"/>
              </a:cxn>
              <a:cxn ang="0">
                <a:pos x="1090" y="1494"/>
              </a:cxn>
              <a:cxn ang="0">
                <a:pos x="801" y="1542"/>
              </a:cxn>
              <a:cxn ang="0">
                <a:pos x="561" y="1694"/>
              </a:cxn>
              <a:cxn ang="0">
                <a:pos x="84" y="1578"/>
              </a:cxn>
              <a:cxn ang="0">
                <a:pos x="84" y="0"/>
              </a:cxn>
              <a:cxn ang="0">
                <a:pos x="2023" y="0"/>
              </a:cxn>
              <a:cxn ang="0">
                <a:pos x="2023" y="601"/>
              </a:cxn>
              <a:cxn ang="0">
                <a:pos x="773" y="601"/>
              </a:cxn>
              <a:cxn ang="0">
                <a:pos x="773" y="1118"/>
              </a:cxn>
              <a:cxn ang="0">
                <a:pos x="1018" y="965"/>
              </a:cxn>
              <a:cxn ang="0">
                <a:pos x="1346" y="905"/>
              </a:cxn>
              <a:cxn ang="0">
                <a:pos x="1671" y="965"/>
              </a:cxn>
              <a:cxn ang="0">
                <a:pos x="1947" y="1138"/>
              </a:cxn>
              <a:cxn ang="0">
                <a:pos x="2137" y="1412"/>
              </a:cxn>
              <a:cxn ang="0">
                <a:pos x="2207" y="1775"/>
              </a:cxn>
              <a:cxn ang="0">
                <a:pos x="2129" y="2165"/>
              </a:cxn>
              <a:cxn ang="0">
                <a:pos x="1903" y="2464"/>
              </a:cxn>
              <a:cxn ang="0">
                <a:pos x="1546" y="2654"/>
              </a:cxn>
              <a:cxn ang="0">
                <a:pos x="1078" y="2720"/>
              </a:cxn>
            </a:cxnLst>
            <a:rect l="0" t="0" r="r" b="b"/>
            <a:pathLst>
              <a:path w="2207" h="2720">
                <a:moveTo>
                  <a:pt x="1078" y="2720"/>
                </a:moveTo>
                <a:cubicBezTo>
                  <a:pt x="840" y="2720"/>
                  <a:pt x="632" y="2686"/>
                  <a:pt x="455" y="2618"/>
                </a:cubicBezTo>
                <a:cubicBezTo>
                  <a:pt x="277" y="2550"/>
                  <a:pt x="126" y="2454"/>
                  <a:pt x="0" y="2331"/>
                </a:cubicBezTo>
                <a:lnTo>
                  <a:pt x="377" y="1851"/>
                </a:lnTo>
                <a:cubicBezTo>
                  <a:pt x="470" y="1936"/>
                  <a:pt x="577" y="2001"/>
                  <a:pt x="697" y="2045"/>
                </a:cubicBezTo>
                <a:cubicBezTo>
                  <a:pt x="817" y="2089"/>
                  <a:pt x="942" y="2111"/>
                  <a:pt x="1070" y="2111"/>
                </a:cubicBezTo>
                <a:cubicBezTo>
                  <a:pt x="1217" y="2111"/>
                  <a:pt x="1326" y="2080"/>
                  <a:pt x="1398" y="2019"/>
                </a:cubicBezTo>
                <a:cubicBezTo>
                  <a:pt x="1470" y="1957"/>
                  <a:pt x="1506" y="1885"/>
                  <a:pt x="1506" y="1803"/>
                </a:cubicBezTo>
                <a:cubicBezTo>
                  <a:pt x="1506" y="1712"/>
                  <a:pt x="1472" y="1638"/>
                  <a:pt x="1402" y="1580"/>
                </a:cubicBezTo>
                <a:cubicBezTo>
                  <a:pt x="1333" y="1523"/>
                  <a:pt x="1229" y="1494"/>
                  <a:pt x="1090" y="1494"/>
                </a:cubicBezTo>
                <a:cubicBezTo>
                  <a:pt x="983" y="1494"/>
                  <a:pt x="887" y="1510"/>
                  <a:pt x="801" y="1542"/>
                </a:cubicBezTo>
                <a:cubicBezTo>
                  <a:pt x="716" y="1574"/>
                  <a:pt x="636" y="1625"/>
                  <a:pt x="561" y="1694"/>
                </a:cubicBezTo>
                <a:lnTo>
                  <a:pt x="84" y="1578"/>
                </a:lnTo>
                <a:lnTo>
                  <a:pt x="84" y="0"/>
                </a:lnTo>
                <a:lnTo>
                  <a:pt x="2023" y="0"/>
                </a:lnTo>
                <a:lnTo>
                  <a:pt x="2023" y="601"/>
                </a:lnTo>
                <a:lnTo>
                  <a:pt x="773" y="601"/>
                </a:lnTo>
                <a:lnTo>
                  <a:pt x="773" y="1118"/>
                </a:lnTo>
                <a:cubicBezTo>
                  <a:pt x="837" y="1056"/>
                  <a:pt x="919" y="1006"/>
                  <a:pt x="1018" y="965"/>
                </a:cubicBezTo>
                <a:cubicBezTo>
                  <a:pt x="1116" y="925"/>
                  <a:pt x="1226" y="905"/>
                  <a:pt x="1346" y="905"/>
                </a:cubicBezTo>
                <a:cubicBezTo>
                  <a:pt x="1458" y="905"/>
                  <a:pt x="1566" y="925"/>
                  <a:pt x="1671" y="965"/>
                </a:cubicBezTo>
                <a:cubicBezTo>
                  <a:pt x="1775" y="1006"/>
                  <a:pt x="1867" y="1063"/>
                  <a:pt x="1947" y="1138"/>
                </a:cubicBezTo>
                <a:cubicBezTo>
                  <a:pt x="2027" y="1212"/>
                  <a:pt x="2090" y="1304"/>
                  <a:pt x="2137" y="1412"/>
                </a:cubicBezTo>
                <a:cubicBezTo>
                  <a:pt x="2184" y="1520"/>
                  <a:pt x="2207" y="1641"/>
                  <a:pt x="2207" y="1775"/>
                </a:cubicBezTo>
                <a:cubicBezTo>
                  <a:pt x="2207" y="1919"/>
                  <a:pt x="2181" y="2049"/>
                  <a:pt x="2129" y="2165"/>
                </a:cubicBezTo>
                <a:cubicBezTo>
                  <a:pt x="2077" y="2281"/>
                  <a:pt x="2002" y="2381"/>
                  <a:pt x="1903" y="2464"/>
                </a:cubicBezTo>
                <a:cubicBezTo>
                  <a:pt x="1804" y="2546"/>
                  <a:pt x="1685" y="2610"/>
                  <a:pt x="1546" y="2654"/>
                </a:cubicBezTo>
                <a:cubicBezTo>
                  <a:pt x="1407" y="2698"/>
                  <a:pt x="1251" y="2720"/>
                  <a:pt x="1078" y="2720"/>
                </a:cubicBezTo>
                <a:close/>
              </a:path>
            </a:pathLst>
          </a:custGeom>
          <a:solidFill>
            <a:schemeClr val="accent5">
              <a:lumMod val="20000"/>
              <a:lumOff val="80000"/>
              <a:alpha val="82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defTabSz="914400" hangingPunct="1"/>
            <a:endParaRPr lang="ru-RU" sz="1800" kern="1200">
              <a:solidFill>
                <a:prstClr val="black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613793" y="2475038"/>
            <a:ext cx="1005012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400" hangingPunct="1"/>
            <a:r>
              <a:rPr lang="ru-RU" sz="2800" kern="1200" dirty="0" smtClean="0">
                <a:solidFill>
                  <a:prstClr val="black"/>
                </a:solidFill>
                <a:latin typeface="Calibri Light"/>
              </a:rPr>
              <a:t>… </a:t>
            </a:r>
            <a:r>
              <a:rPr lang="ru-RU" sz="2800" b="1" kern="1200" dirty="0" smtClean="0">
                <a:solidFill>
                  <a:srgbClr val="70AD47"/>
                </a:solidFill>
                <a:latin typeface="Calibri Light"/>
              </a:rPr>
              <a:t>необходимо </a:t>
            </a:r>
            <a:r>
              <a:rPr lang="ru-RU" sz="2800" b="1" kern="1200" dirty="0">
                <a:solidFill>
                  <a:srgbClr val="70AD47"/>
                </a:solidFill>
                <a:latin typeface="Calibri Light"/>
              </a:rPr>
              <a:t>использовать ресурсы </a:t>
            </a:r>
            <a:r>
              <a:rPr lang="ru-RU" sz="2800" kern="1200" dirty="0">
                <a:solidFill>
                  <a:prstClr val="black"/>
                </a:solidFill>
                <a:latin typeface="Calibri Light"/>
              </a:rPr>
              <a:t>организаций дополнительного образования, центров технологической поддержки образования, </a:t>
            </a:r>
            <a:r>
              <a:rPr lang="ru-RU" sz="2800" b="1" kern="1200" dirty="0">
                <a:solidFill>
                  <a:srgbClr val="70AD47"/>
                </a:solidFill>
                <a:latin typeface="Calibri Light"/>
              </a:rPr>
              <a:t>детских технопарков </a:t>
            </a:r>
            <a:r>
              <a:rPr lang="ru-RU" sz="2800" kern="1200" dirty="0">
                <a:solidFill>
                  <a:prstClr val="black"/>
                </a:solidFill>
                <a:latin typeface="Calibri Light"/>
              </a:rPr>
              <a:t>(включая «</a:t>
            </a:r>
            <a:r>
              <a:rPr lang="ru-RU" sz="2800" kern="1200" dirty="0" err="1">
                <a:solidFill>
                  <a:prstClr val="black"/>
                </a:solidFill>
                <a:latin typeface="Calibri Light"/>
              </a:rPr>
              <a:t>Кванториумы</a:t>
            </a:r>
            <a:r>
              <a:rPr lang="ru-RU" sz="2800" kern="1200" dirty="0">
                <a:solidFill>
                  <a:prstClr val="black"/>
                </a:solidFill>
                <a:latin typeface="Calibri Light"/>
              </a:rPr>
              <a:t>», </a:t>
            </a:r>
            <a:r>
              <a:rPr lang="ru-RU" sz="2800" kern="1200" dirty="0" err="1">
                <a:solidFill>
                  <a:prstClr val="black"/>
                </a:solidFill>
                <a:latin typeface="Calibri Light"/>
              </a:rPr>
              <a:t>ЦМИТы</a:t>
            </a:r>
            <a:r>
              <a:rPr lang="ru-RU" sz="2800" kern="1200" dirty="0">
                <a:solidFill>
                  <a:prstClr val="black"/>
                </a:solidFill>
                <a:latin typeface="Calibri Light"/>
              </a:rPr>
              <a:t>, </a:t>
            </a:r>
            <a:r>
              <a:rPr lang="ru-RU" sz="2800" kern="1200" dirty="0" err="1">
                <a:solidFill>
                  <a:prstClr val="black"/>
                </a:solidFill>
                <a:latin typeface="Calibri Light"/>
              </a:rPr>
              <a:t>Фаблабы</a:t>
            </a:r>
            <a:r>
              <a:rPr lang="ru-RU" sz="2800" kern="1200" dirty="0">
                <a:solidFill>
                  <a:prstClr val="black"/>
                </a:solidFill>
                <a:latin typeface="Calibri Light"/>
              </a:rPr>
              <a:t>), </a:t>
            </a:r>
            <a:r>
              <a:rPr lang="ru-RU" sz="2800" b="1" kern="1200" dirty="0">
                <a:solidFill>
                  <a:srgbClr val="70AD47"/>
                </a:solidFill>
                <a:latin typeface="Calibri Light"/>
              </a:rPr>
              <a:t>специализированных центров компетенций</a:t>
            </a:r>
            <a:r>
              <a:rPr lang="ru-RU" sz="2800" b="1" kern="1200" dirty="0">
                <a:solidFill>
                  <a:prstClr val="black"/>
                </a:solidFill>
                <a:latin typeface="Calibri Light"/>
              </a:rPr>
              <a:t> </a:t>
            </a:r>
            <a:r>
              <a:rPr lang="ru-RU" sz="2800" kern="1200" dirty="0">
                <a:solidFill>
                  <a:prstClr val="black"/>
                </a:solidFill>
                <a:latin typeface="Calibri Light"/>
              </a:rPr>
              <a:t>(включая </a:t>
            </a:r>
            <a:r>
              <a:rPr lang="ru-RU" sz="2800" kern="1200" dirty="0" err="1">
                <a:solidFill>
                  <a:prstClr val="black"/>
                </a:solidFill>
                <a:latin typeface="Calibri Light"/>
              </a:rPr>
              <a:t>Ворлдскиллс</a:t>
            </a:r>
            <a:r>
              <a:rPr lang="ru-RU" sz="2800" kern="1200" dirty="0">
                <a:solidFill>
                  <a:prstClr val="black"/>
                </a:solidFill>
                <a:latin typeface="Calibri Light"/>
              </a:rPr>
              <a:t>), </a:t>
            </a:r>
            <a:r>
              <a:rPr lang="ru-RU" sz="2800" kern="1200" dirty="0" smtClean="0">
                <a:solidFill>
                  <a:prstClr val="black"/>
                </a:solidFill>
                <a:latin typeface="Calibri Light"/>
              </a:rPr>
              <a:t>…</a:t>
            </a:r>
            <a:endParaRPr lang="ru-RU" sz="2800" kern="1200" dirty="0">
              <a:solidFill>
                <a:prstClr val="black"/>
              </a:solidFill>
              <a:latin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4149302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обенности организации технологической подготовк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2400" dirty="0"/>
              <a:t>Освоение учебного предмета «Технология» может осуществляться как в образовательных </a:t>
            </a:r>
            <a:r>
              <a:rPr lang="ru-RU" sz="2400" dirty="0" smtClean="0"/>
              <a:t>организациях, так </a:t>
            </a:r>
            <a:r>
              <a:rPr lang="ru-RU" sz="2400" dirty="0"/>
              <a:t>и в </a:t>
            </a:r>
            <a:r>
              <a:rPr lang="ru-RU" sz="2400" dirty="0" smtClean="0"/>
              <a:t>организациях-партнёрах</a:t>
            </a:r>
            <a:endParaRPr lang="ru-RU" sz="2400" dirty="0"/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207907339"/>
              </p:ext>
            </p:extLst>
          </p:nvPr>
        </p:nvGraphicFramePr>
        <p:xfrm>
          <a:off x="2032000" y="2162439"/>
          <a:ext cx="8128000" cy="32617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686050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рганизационные подходы к реализации Концепци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ru-RU" b="1" dirty="0">
                <a:latin typeface="+mj-lt"/>
              </a:rPr>
              <a:t>Содержание предметной области «Технология» реализуется через:</a:t>
            </a:r>
          </a:p>
          <a:p>
            <a:r>
              <a:rPr lang="ru-RU" dirty="0">
                <a:latin typeface="+mj-lt"/>
              </a:rPr>
              <a:t>учебный предмет «Технология</a:t>
            </a:r>
            <a:r>
              <a:rPr lang="ru-RU" dirty="0" smtClean="0">
                <a:latin typeface="+mj-lt"/>
              </a:rPr>
              <a:t>»</a:t>
            </a:r>
            <a:endParaRPr lang="ru-RU" dirty="0">
              <a:latin typeface="+mj-lt"/>
            </a:endParaRPr>
          </a:p>
          <a:p>
            <a:r>
              <a:rPr lang="ru-RU" dirty="0">
                <a:latin typeface="+mj-lt"/>
              </a:rPr>
              <a:t>учебный предмет «Информатика и ИКТ</a:t>
            </a:r>
            <a:r>
              <a:rPr lang="ru-RU" dirty="0" smtClean="0">
                <a:latin typeface="+mj-lt"/>
              </a:rPr>
              <a:t>»</a:t>
            </a:r>
            <a:endParaRPr lang="ru-RU" dirty="0">
              <a:latin typeface="+mj-lt"/>
            </a:endParaRPr>
          </a:p>
          <a:p>
            <a:r>
              <a:rPr lang="ru-RU" dirty="0">
                <a:latin typeface="+mj-lt"/>
              </a:rPr>
              <a:t>другие учебные </a:t>
            </a:r>
            <a:r>
              <a:rPr lang="ru-RU" dirty="0" smtClean="0">
                <a:latin typeface="+mj-lt"/>
              </a:rPr>
              <a:t>предметы</a:t>
            </a:r>
            <a:endParaRPr lang="ru-RU" dirty="0">
              <a:latin typeface="+mj-lt"/>
            </a:endParaRPr>
          </a:p>
          <a:p>
            <a:r>
              <a:rPr lang="ru-RU" dirty="0">
                <a:latin typeface="+mj-lt"/>
              </a:rPr>
              <a:t>общественно-полезный труд и творческую деятельность в пространстве образовательной </a:t>
            </a:r>
            <a:r>
              <a:rPr lang="ru-RU" dirty="0" smtClean="0">
                <a:latin typeface="+mj-lt"/>
              </a:rPr>
              <a:t>организации и </a:t>
            </a:r>
            <a:r>
              <a:rPr lang="ru-RU" dirty="0">
                <a:latin typeface="+mj-lt"/>
              </a:rPr>
              <a:t>вне </a:t>
            </a:r>
            <a:r>
              <a:rPr lang="ru-RU" dirty="0" smtClean="0">
                <a:latin typeface="+mj-lt"/>
              </a:rPr>
              <a:t>его</a:t>
            </a:r>
            <a:endParaRPr lang="ru-RU" dirty="0">
              <a:latin typeface="+mj-lt"/>
            </a:endParaRPr>
          </a:p>
          <a:p>
            <a:r>
              <a:rPr lang="ru-RU" dirty="0">
                <a:latin typeface="+mj-lt"/>
              </a:rPr>
              <a:t>внеурочную и внешкольную </a:t>
            </a:r>
            <a:r>
              <a:rPr lang="ru-RU" dirty="0" smtClean="0">
                <a:latin typeface="+mj-lt"/>
              </a:rPr>
              <a:t>деятельность</a:t>
            </a:r>
            <a:endParaRPr lang="ru-RU" dirty="0">
              <a:latin typeface="+mj-lt"/>
            </a:endParaRPr>
          </a:p>
          <a:p>
            <a:r>
              <a:rPr lang="ru-RU" dirty="0">
                <a:latin typeface="+mj-lt"/>
              </a:rPr>
              <a:t>дополнительное </a:t>
            </a:r>
            <a:r>
              <a:rPr lang="ru-RU" dirty="0" smtClean="0">
                <a:latin typeface="+mj-lt"/>
              </a:rPr>
              <a:t>образование</a:t>
            </a:r>
          </a:p>
          <a:p>
            <a:r>
              <a:rPr lang="ru-RU" dirty="0">
                <a:latin typeface="+mj-lt"/>
              </a:rPr>
              <a:t>проект «Урок «Технологии» на базе высокотехнологичных организаций, в том числе на базе мобильных детских технопарков «Кванториум</a:t>
            </a:r>
            <a:r>
              <a:rPr lang="ru-RU" dirty="0" smtClean="0">
                <a:latin typeface="+mj-lt"/>
              </a:rPr>
              <a:t>»</a:t>
            </a:r>
          </a:p>
          <a:p>
            <a:r>
              <a:rPr lang="ru-RU" dirty="0" smtClean="0">
                <a:latin typeface="+mj-lt"/>
              </a:rPr>
              <a:t>проект </a:t>
            </a:r>
            <a:r>
              <a:rPr lang="ru-RU" dirty="0">
                <a:latin typeface="+mj-lt"/>
              </a:rPr>
              <a:t>ранней профессиональной ориентации обучающихся «Билет в будущее</a:t>
            </a:r>
            <a:r>
              <a:rPr lang="ru-RU" dirty="0" smtClean="0">
                <a:latin typeface="+mj-lt"/>
              </a:rPr>
              <a:t>»</a:t>
            </a:r>
          </a:p>
          <a:p>
            <a:r>
              <a:rPr lang="ru-RU" dirty="0" smtClean="0">
                <a:latin typeface="+mj-lt"/>
              </a:rPr>
              <a:t>систему </a:t>
            </a:r>
            <a:r>
              <a:rPr lang="ru-RU" dirty="0">
                <a:latin typeface="+mj-lt"/>
              </a:rPr>
              <a:t>открытых онлайн уроков «</a:t>
            </a:r>
            <a:r>
              <a:rPr lang="ru-RU" dirty="0" err="1">
                <a:latin typeface="+mj-lt"/>
              </a:rPr>
              <a:t>Проектория</a:t>
            </a:r>
            <a:r>
              <a:rPr lang="ru-RU" dirty="0" smtClean="0">
                <a:latin typeface="+mj-lt"/>
              </a:rPr>
              <a:t>»</a:t>
            </a:r>
            <a:endParaRPr lang="ru-RU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05002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обенности организации технологической подготовк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ru-RU" b="1" dirty="0">
                <a:latin typeface="+mj-lt"/>
              </a:rPr>
              <a:t>Обучение технологии </a:t>
            </a:r>
            <a:r>
              <a:rPr lang="ru-RU" dirty="0">
                <a:latin typeface="+mj-lt"/>
              </a:rPr>
              <a:t>в системе общего образования осуществляется </a:t>
            </a:r>
            <a:r>
              <a:rPr lang="ru-RU" b="1" dirty="0">
                <a:latin typeface="+mj-lt"/>
              </a:rPr>
              <a:t>по единой </a:t>
            </a:r>
            <a:r>
              <a:rPr lang="ru-RU" b="1" dirty="0" smtClean="0">
                <a:latin typeface="+mj-lt"/>
              </a:rPr>
              <a:t>программе </a:t>
            </a:r>
            <a:r>
              <a:rPr lang="ru-RU" dirty="0" smtClean="0">
                <a:latin typeface="+mj-lt"/>
              </a:rPr>
              <a:t>(неделимой </a:t>
            </a:r>
            <a:r>
              <a:rPr lang="ru-RU" dirty="0">
                <a:latin typeface="+mj-lt"/>
              </a:rPr>
              <a:t>по гендерному признаку и по содержательным линиям);</a:t>
            </a:r>
          </a:p>
          <a:p>
            <a:r>
              <a:rPr lang="ru-RU" dirty="0" smtClean="0">
                <a:latin typeface="+mj-lt"/>
              </a:rPr>
              <a:t>Предусмотрено </a:t>
            </a:r>
            <a:r>
              <a:rPr lang="ru-RU" b="1" dirty="0">
                <a:latin typeface="+mj-lt"/>
              </a:rPr>
              <a:t>деление класса на </a:t>
            </a:r>
            <a:r>
              <a:rPr lang="ru-RU" b="1" dirty="0" smtClean="0">
                <a:latin typeface="+mj-lt"/>
              </a:rPr>
              <a:t>2 </a:t>
            </a:r>
            <a:r>
              <a:rPr lang="ru-RU" b="1" dirty="0">
                <a:latin typeface="+mj-lt"/>
              </a:rPr>
              <a:t>подгруппы </a:t>
            </a:r>
            <a:r>
              <a:rPr lang="ru-RU" dirty="0">
                <a:latin typeface="+mj-lt"/>
              </a:rPr>
              <a:t>(и более) </a:t>
            </a:r>
            <a:endParaRPr lang="ru-RU" dirty="0" smtClean="0">
              <a:latin typeface="+mj-lt"/>
            </a:endParaRPr>
          </a:p>
          <a:p>
            <a:r>
              <a:rPr lang="ru-RU" dirty="0" smtClean="0">
                <a:latin typeface="+mj-lt"/>
              </a:rPr>
              <a:t>Результаты </a:t>
            </a:r>
            <a:r>
              <a:rPr lang="ru-RU" dirty="0">
                <a:latin typeface="+mj-lt"/>
              </a:rPr>
              <a:t>технологической подготовки складываются из результатов обучения на уроках технологии,  итогов внеурочной деятельности (в рамках одной школы) и результатов социально-ориентированной  деятельности и дополнительного образования (</a:t>
            </a:r>
            <a:r>
              <a:rPr lang="ru-RU" b="1" dirty="0">
                <a:latin typeface="+mj-lt"/>
              </a:rPr>
              <a:t>требуется разработка обобщенных </a:t>
            </a:r>
            <a:r>
              <a:rPr lang="ru-RU" b="1" dirty="0" smtClean="0">
                <a:latin typeface="+mj-lt"/>
              </a:rPr>
              <a:t>критериев и </a:t>
            </a:r>
            <a:r>
              <a:rPr lang="ru-RU" b="1" dirty="0">
                <a:latin typeface="+mj-lt"/>
              </a:rPr>
              <a:t>показателей оценки качества технологической подготовки</a:t>
            </a:r>
            <a:r>
              <a:rPr lang="ru-RU" dirty="0">
                <a:latin typeface="+mj-lt"/>
              </a:rPr>
              <a:t>)</a:t>
            </a:r>
          </a:p>
          <a:p>
            <a:r>
              <a:rPr lang="ru-RU" dirty="0">
                <a:latin typeface="+mj-lt"/>
              </a:rPr>
              <a:t>в ПООП в разделе «Критерии и показатели эффективности деятельности организации,  осуществляющей образовательную деятельность, по обеспечению воспитания и социализации  обучающихся» есть рекомендации по разработке мониторинга эффективности </a:t>
            </a:r>
            <a:r>
              <a:rPr lang="ru-RU" dirty="0" smtClean="0">
                <a:latin typeface="+mj-lt"/>
              </a:rPr>
              <a:t>технологической подготовки </a:t>
            </a:r>
            <a:r>
              <a:rPr lang="ru-RU" dirty="0">
                <a:latin typeface="+mj-lt"/>
              </a:rPr>
              <a:t>школьников</a:t>
            </a:r>
            <a:r>
              <a:rPr lang="ru-RU" dirty="0" smtClean="0">
                <a:latin typeface="+mj-lt"/>
              </a:rPr>
              <a:t>.</a:t>
            </a:r>
            <a:endParaRPr lang="ru-RU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51635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обенности организации технологической подготовк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ru-RU" dirty="0" smtClean="0">
                <a:latin typeface="+mj-lt"/>
              </a:rPr>
              <a:t>Технологическая </a:t>
            </a:r>
            <a:r>
              <a:rPr lang="ru-RU" dirty="0">
                <a:latin typeface="+mj-lt"/>
              </a:rPr>
              <a:t>подготовка должна быть построена с учетом регионального содержания:</a:t>
            </a:r>
          </a:p>
          <a:p>
            <a:pPr lvl="2"/>
            <a:r>
              <a:rPr lang="ru-RU" dirty="0">
                <a:latin typeface="+mj-lt"/>
              </a:rPr>
              <a:t>Изучение реальной промышленной и сельскохозяйственной деятельности в регионе;</a:t>
            </a:r>
          </a:p>
          <a:p>
            <a:pPr lvl="2"/>
            <a:r>
              <a:rPr lang="ru-RU" dirty="0">
                <a:latin typeface="+mj-lt"/>
              </a:rPr>
              <a:t>Ознакомление с динамикой регионального рынка труда, количественного и качественного </a:t>
            </a:r>
            <a:r>
              <a:rPr lang="ru-RU" dirty="0" smtClean="0">
                <a:latin typeface="+mj-lt"/>
              </a:rPr>
              <a:t>аспектов спроса </a:t>
            </a:r>
            <a:r>
              <a:rPr lang="ru-RU" dirty="0">
                <a:latin typeface="+mj-lt"/>
              </a:rPr>
              <a:t>и предложения;</a:t>
            </a:r>
          </a:p>
          <a:p>
            <a:pPr lvl="2"/>
            <a:r>
              <a:rPr lang="ru-RU" dirty="0">
                <a:latin typeface="+mj-lt"/>
              </a:rPr>
              <a:t>Анализ ресурсов профессионального образования в регионе, формирование опыта </a:t>
            </a:r>
            <a:r>
              <a:rPr lang="ru-RU" dirty="0" smtClean="0">
                <a:latin typeface="+mj-lt"/>
              </a:rPr>
              <a:t>учета рыночной </a:t>
            </a:r>
            <a:r>
              <a:rPr lang="ru-RU" dirty="0">
                <a:latin typeface="+mj-lt"/>
              </a:rPr>
              <a:t>конъюнктуры в процессе профессионального самоопределения.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>
                <a:latin typeface="+mj-lt"/>
              </a:rPr>
              <a:t>При проектировании вариативной части должно быть обязательно сохранено базовое </a:t>
            </a:r>
            <a:r>
              <a:rPr lang="ru-RU" dirty="0" smtClean="0">
                <a:latin typeface="+mj-lt"/>
              </a:rPr>
              <a:t>содержание учебной </a:t>
            </a:r>
            <a:r>
              <a:rPr lang="ru-RU" dirty="0">
                <a:latin typeface="+mj-lt"/>
              </a:rPr>
              <a:t>программы; все тематические модули и дидактические единицы изучаются в полном объеме;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>
                <a:latin typeface="+mj-lt"/>
              </a:rPr>
              <a:t>Учебные программы по технологии на базовом уровне в сельских школах идентичных программам </a:t>
            </a:r>
            <a:r>
              <a:rPr lang="ru-RU" dirty="0" smtClean="0">
                <a:latin typeface="+mj-lt"/>
              </a:rPr>
              <a:t>для городских </a:t>
            </a:r>
            <a:r>
              <a:rPr lang="ru-RU" dirty="0">
                <a:latin typeface="+mj-lt"/>
              </a:rPr>
              <a:t>школ;</a:t>
            </a:r>
          </a:p>
          <a:p>
            <a:pPr marL="514350" indent="-514350">
              <a:buFont typeface="+mj-lt"/>
              <a:buAutoNum type="arabicPeriod"/>
            </a:pPr>
            <a:r>
              <a:rPr lang="ru-RU" dirty="0">
                <a:solidFill>
                  <a:srgbClr val="E22A8B"/>
                </a:solidFill>
                <a:latin typeface="+mj-lt"/>
              </a:rPr>
              <a:t>Изучение робототехники является обязательным направлением в школе, но на уроках технологии  осуществляется только общее ознакомление </a:t>
            </a:r>
            <a:r>
              <a:rPr lang="ru-RU" dirty="0">
                <a:latin typeface="+mj-lt"/>
              </a:rPr>
              <a:t>с принципами робототехники, основами моделирования,  конструирования и программирования робототехнических устройств</a:t>
            </a:r>
            <a:r>
              <a:rPr lang="ru-RU" dirty="0" smtClean="0">
                <a:latin typeface="+mj-lt"/>
              </a:rPr>
              <a:t>.</a:t>
            </a:r>
            <a:endParaRPr lang="ru-RU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19740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циональный проект «Образование</a:t>
            </a:r>
            <a:r>
              <a:rPr lang="ru-RU" dirty="0" smtClean="0"/>
              <a:t>»</a:t>
            </a: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300" y="1379432"/>
            <a:ext cx="7305676" cy="485190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1025" y="2692686"/>
            <a:ext cx="2647950" cy="3080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707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ащение образовательного процесса для технологической подготовк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marL="514350" indent="-514350" algn="just">
              <a:buFont typeface="+mj-lt"/>
              <a:buAutoNum type="arabicPeriod"/>
            </a:pPr>
            <a:r>
              <a:rPr lang="ru-RU" dirty="0" smtClean="0">
                <a:latin typeface="+mj-lt"/>
              </a:rPr>
              <a:t>Учебно-методическое </a:t>
            </a:r>
            <a:r>
              <a:rPr lang="ru-RU" dirty="0">
                <a:latin typeface="+mj-lt"/>
              </a:rPr>
              <a:t>обеспечение</a:t>
            </a:r>
          </a:p>
          <a:p>
            <a:pPr lvl="2" algn="just"/>
            <a:r>
              <a:rPr lang="ru-RU" dirty="0">
                <a:latin typeface="+mj-lt"/>
              </a:rPr>
              <a:t>ФЗ «Об образовании в Российской Федерации» от 29.12.2012 г., №273-ФЗ: Статья 18</a:t>
            </a:r>
          </a:p>
          <a:p>
            <a:pPr lvl="2" algn="just"/>
            <a:r>
              <a:rPr lang="ru-RU" dirty="0">
                <a:latin typeface="+mj-lt"/>
              </a:rPr>
              <a:t>П.1 - В организациях, осуществляющих образовательную деятельность, в целях обеспечения реализации образовательных программ  формируются библиотеки, обеспечивающие доступ к профессиональным базам данных, справочным и поисковым системам, иным  информационным ресурсам. Библиотечный фонд должен быть укомплектован печатными и (или) электронными учебными </a:t>
            </a:r>
            <a:r>
              <a:rPr lang="ru-RU" dirty="0" smtClean="0">
                <a:latin typeface="+mj-lt"/>
              </a:rPr>
              <a:t>изданиями (включая</a:t>
            </a:r>
            <a:r>
              <a:rPr lang="ru-RU" dirty="0">
                <a:latin typeface="+mj-lt"/>
              </a:rPr>
              <a:t>	</a:t>
            </a:r>
            <a:r>
              <a:rPr lang="ru-RU" dirty="0" smtClean="0">
                <a:latin typeface="+mj-lt"/>
              </a:rPr>
              <a:t>учебники и учебные пособия), методическими и периодическими изданиями по всем реализуемым основным образовательным </a:t>
            </a:r>
            <a:r>
              <a:rPr lang="ru-RU" dirty="0">
                <a:latin typeface="+mj-lt"/>
              </a:rPr>
              <a:t>программам учебных предметов, курсов, дисциплин (модулей).</a:t>
            </a:r>
          </a:p>
          <a:p>
            <a:pPr lvl="2" algn="just"/>
            <a:r>
              <a:rPr lang="ru-RU" dirty="0">
                <a:latin typeface="+mj-lt"/>
              </a:rPr>
              <a:t>П.4. - Организации, осуществляющие образовательную деятельность по имеющим государственную аккредитацию образовательным  программам начального общего, основного общего, среднего общего образования, для использования при реализации указанных  образовательных программ </a:t>
            </a:r>
            <a:r>
              <a:rPr lang="ru-RU" dirty="0" smtClean="0">
                <a:latin typeface="+mj-lt"/>
              </a:rPr>
              <a:t>выбирают: </a:t>
            </a:r>
          </a:p>
          <a:p>
            <a:pPr lvl="2" algn="just"/>
            <a:r>
              <a:rPr lang="ru-RU" b="1" dirty="0" smtClean="0">
                <a:latin typeface="+mj-lt"/>
              </a:rPr>
              <a:t>учебники </a:t>
            </a:r>
            <a:r>
              <a:rPr lang="ru-RU" b="1" dirty="0">
                <a:latin typeface="+mj-lt"/>
              </a:rPr>
              <a:t>из числа входящих в федеральный перечень учебников</a:t>
            </a:r>
            <a:r>
              <a:rPr lang="ru-RU" dirty="0">
                <a:latin typeface="+mj-lt"/>
              </a:rPr>
              <a:t>, рекомендуемых к использованию при реализации имеющих  государственную аккредитацию образовательных программ начального общего, основного общего, среднего общего образования  (Приказ Министерства просвещения РФ №345 от 28.12.2018г.);</a:t>
            </a:r>
          </a:p>
          <a:p>
            <a:pPr lvl="2" algn="just"/>
            <a:r>
              <a:rPr lang="ru-RU" b="1" dirty="0" smtClean="0">
                <a:latin typeface="+mj-lt"/>
              </a:rPr>
              <a:t>учебные </a:t>
            </a:r>
            <a:r>
              <a:rPr lang="ru-RU" b="1" dirty="0">
                <a:latin typeface="+mj-lt"/>
              </a:rPr>
              <a:t>пособия</a:t>
            </a:r>
            <a:r>
              <a:rPr lang="ru-RU" dirty="0">
                <a:latin typeface="+mj-lt"/>
              </a:rPr>
              <a:t>, выпущенные организациями, осуществляющих выпуск учебных пособий, которые допускаются к  использованию при реализации имеющих государственную аккредитацию образовательных программ начального общего, основного  общего, среднего общего образования.</a:t>
            </a:r>
          </a:p>
          <a:p>
            <a:pPr algn="just"/>
            <a:r>
              <a:rPr lang="ru-RU" dirty="0">
                <a:latin typeface="+mj-lt"/>
              </a:rPr>
              <a:t>2) Оснащение учебных мастерских по технологии</a:t>
            </a:r>
          </a:p>
          <a:p>
            <a:pPr lvl="2" algn="just"/>
            <a:r>
              <a:rPr lang="ru-RU" dirty="0">
                <a:latin typeface="+mj-lt"/>
              </a:rPr>
              <a:t>Постановление Главного государственного санитарного врача РФ от 29.12.2010 № 189 (ред. от 24.11.2015) «Об утверждении СанПиН  2.4.2.2821-10»</a:t>
            </a:r>
          </a:p>
          <a:p>
            <a:pPr lvl="2" algn="just"/>
            <a:r>
              <a:rPr lang="ru-RU" dirty="0">
                <a:latin typeface="+mj-lt"/>
              </a:rPr>
              <a:t>Приказ Минобрнауки России от 30.03.2016 №336 «Об утверждении перечня средств обучения и воспитания, необходимых для  реализации образовательных программ начального общего, основного общего и среднего общего образования, </a:t>
            </a:r>
            <a:r>
              <a:rPr lang="ru-RU" dirty="0" smtClean="0">
                <a:latin typeface="+mj-lt"/>
              </a:rPr>
              <a:t>соответствующих современным </a:t>
            </a:r>
            <a:r>
              <a:rPr lang="ru-RU" dirty="0">
                <a:latin typeface="+mj-lt"/>
              </a:rPr>
              <a:t>условиям обучения, </a:t>
            </a:r>
            <a:r>
              <a:rPr lang="ru-RU" dirty="0" smtClean="0">
                <a:latin typeface="+mj-lt"/>
              </a:rPr>
              <a:t>…….»</a:t>
            </a:r>
            <a:endParaRPr lang="ru-RU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44954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 smtClean="0"/>
              <a:t>Этапы составления рабочей программы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533315"/>
            <a:ext cx="10515600" cy="487976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44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Шаг 1. Изучить нормативную базу</a:t>
            </a:r>
          </a:p>
          <a:p>
            <a:pPr lvl="2" algn="just"/>
            <a:r>
              <a:rPr lang="ru-RU" sz="28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Федеральный </a:t>
            </a: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закон «Об образовании в РФ»</a:t>
            </a:r>
          </a:p>
          <a:p>
            <a:pPr lvl="2" algn="just"/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Концепция преподавания учебного предмета «Технология»</a:t>
            </a:r>
          </a:p>
          <a:p>
            <a:pPr lvl="2" algn="just"/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Федеральный государственный образовательный стандарт основного общего образования (далее – ФГОС ООО)</a:t>
            </a:r>
          </a:p>
          <a:p>
            <a:pPr lvl="2" algn="just"/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Примерная основная образовательная программа основного общего образования (далее – ПООП ООО)</a:t>
            </a:r>
          </a:p>
          <a:p>
            <a:pPr lvl="2" algn="just"/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Образовательная программа образовательной организации</a:t>
            </a:r>
          </a:p>
          <a:p>
            <a:pPr lvl="2" algn="just"/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Письмо Минобрнауки России «О рабочих  программах учебных предметов» от 28.10.2015 г. № 08-1786</a:t>
            </a:r>
          </a:p>
        </p:txBody>
      </p:sp>
    </p:spTree>
    <p:extLst>
      <p:ext uri="{BB962C8B-B14F-4D97-AF65-F5344CB8AC3E}">
        <p14:creationId xmlns:p14="http://schemas.microsoft.com/office/powerpoint/2010/main" val="1631701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ФЕДЕРАЛЬНЫЙ ЗАКОН «ОБ ОБРАЗОВАНИИ В РФ»</a:t>
            </a:r>
            <a:endParaRPr lang="ru-RU" dirty="0"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1102564"/>
            <a:ext cx="6432933" cy="32511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2963" y="3079404"/>
            <a:ext cx="8149664" cy="1900982"/>
          </a:xfrm>
          <a:prstGeom prst="rect">
            <a:avLst/>
          </a:prstGeom>
          <a:solidFill>
            <a:schemeClr val="accent4"/>
          </a:solidFill>
          <a:ln w="38100">
            <a:solidFill>
              <a:schemeClr val="accent5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2963" y="1647085"/>
            <a:ext cx="8149664" cy="1260445"/>
          </a:xfrm>
          <a:prstGeom prst="rect">
            <a:avLst/>
          </a:prstGeom>
          <a:solidFill>
            <a:schemeClr val="accent4"/>
          </a:solidFill>
          <a:ln w="38100">
            <a:solidFill>
              <a:srgbClr val="8C7EB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2963" y="5152259"/>
            <a:ext cx="8149664" cy="1454485"/>
          </a:xfrm>
          <a:prstGeom prst="rect">
            <a:avLst/>
          </a:prstGeom>
          <a:solidFill>
            <a:schemeClr val="accent4"/>
          </a:solidFill>
          <a:ln w="38100">
            <a:solidFill>
              <a:schemeClr val="accent6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8" name="Прямоугольник 27"/>
          <p:cNvSpPr/>
          <p:nvPr/>
        </p:nvSpPr>
        <p:spPr>
          <a:xfrm>
            <a:off x="10054728" y="2037242"/>
            <a:ext cx="1997726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hangingPunct="1">
              <a:lnSpc>
                <a:spcPct val="90000"/>
              </a:lnSpc>
              <a:spcBef>
                <a:spcPts val="1000"/>
              </a:spcBef>
            </a:pPr>
            <a:r>
              <a:rPr lang="ru-RU" sz="2800" b="1" kern="12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/>
              </a:rPr>
              <a:t>ФГОС</a:t>
            </a:r>
            <a:endParaRPr lang="ru-RU" sz="2800" b="1" kern="1200" dirty="0">
              <a:solidFill>
                <a:prstClr val="black">
                  <a:lumMod val="65000"/>
                  <a:lumOff val="35000"/>
                </a:prstClr>
              </a:solidFill>
              <a:latin typeface="Calibri Light" panose="020F0302020204030204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0054728" y="3789829"/>
            <a:ext cx="1997726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hangingPunct="1">
              <a:lnSpc>
                <a:spcPct val="90000"/>
              </a:lnSpc>
              <a:spcBef>
                <a:spcPts val="1000"/>
              </a:spcBef>
            </a:pPr>
            <a:r>
              <a:rPr lang="ru-RU" sz="2800" b="1" kern="12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/>
              </a:rPr>
              <a:t>ПООП</a:t>
            </a:r>
            <a:endParaRPr lang="ru-RU" sz="2800" b="1" kern="1200" dirty="0">
              <a:solidFill>
                <a:prstClr val="black">
                  <a:lumMod val="65000"/>
                  <a:lumOff val="35000"/>
                </a:prstClr>
              </a:solidFill>
              <a:latin typeface="Calibri Light" panose="020F0302020204030204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10054728" y="5639435"/>
            <a:ext cx="1997726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hangingPunct="1">
              <a:lnSpc>
                <a:spcPct val="90000"/>
              </a:lnSpc>
              <a:spcBef>
                <a:spcPts val="1000"/>
              </a:spcBef>
            </a:pPr>
            <a:r>
              <a:rPr lang="ru-RU" sz="1800" b="1" kern="12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Calibri Light" panose="020F0302020204030204"/>
              </a:rPr>
              <a:t>Образовательная программа</a:t>
            </a:r>
            <a:endParaRPr lang="ru-RU" sz="1800" b="1" kern="1200" dirty="0">
              <a:solidFill>
                <a:prstClr val="black">
                  <a:lumMod val="65000"/>
                  <a:lumOff val="35000"/>
                </a:prstClr>
              </a:solidFill>
              <a:latin typeface="Calibri Light" panose="020F0302020204030204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8634658" y="1940267"/>
            <a:ext cx="1152000" cy="0"/>
          </a:xfrm>
          <a:prstGeom prst="line">
            <a:avLst/>
          </a:prstGeom>
          <a:ln w="34925">
            <a:solidFill>
              <a:srgbClr val="E22A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1934561" y="2158769"/>
            <a:ext cx="3744000" cy="0"/>
          </a:xfrm>
          <a:prstGeom prst="line">
            <a:avLst/>
          </a:prstGeom>
          <a:ln w="34925">
            <a:solidFill>
              <a:srgbClr val="E22A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7948574" y="3368789"/>
            <a:ext cx="1836000" cy="0"/>
          </a:xfrm>
          <a:prstGeom prst="line">
            <a:avLst/>
          </a:prstGeom>
          <a:ln w="34925">
            <a:solidFill>
              <a:srgbClr val="E22A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1953552" y="3587291"/>
            <a:ext cx="1188000" cy="0"/>
          </a:xfrm>
          <a:prstGeom prst="line">
            <a:avLst/>
          </a:prstGeom>
          <a:ln w="34925">
            <a:solidFill>
              <a:srgbClr val="E22A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6424586" y="4029267"/>
            <a:ext cx="3348000" cy="0"/>
          </a:xfrm>
          <a:prstGeom prst="line">
            <a:avLst/>
          </a:prstGeom>
          <a:ln w="34925">
            <a:solidFill>
              <a:srgbClr val="E22A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7576749" y="4247926"/>
            <a:ext cx="2196000" cy="0"/>
          </a:xfrm>
          <a:prstGeom prst="line">
            <a:avLst/>
          </a:prstGeom>
          <a:ln w="34925">
            <a:solidFill>
              <a:srgbClr val="E22A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5465235" y="5454649"/>
            <a:ext cx="4284000" cy="0"/>
          </a:xfrm>
          <a:prstGeom prst="line">
            <a:avLst/>
          </a:prstGeom>
          <a:ln w="34925">
            <a:solidFill>
              <a:srgbClr val="E22A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1940006" y="6102808"/>
            <a:ext cx="7848000" cy="0"/>
          </a:xfrm>
          <a:prstGeom prst="line">
            <a:avLst/>
          </a:prstGeom>
          <a:ln w="34925">
            <a:solidFill>
              <a:srgbClr val="E22A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1960202" y="6321310"/>
            <a:ext cx="2592000" cy="0"/>
          </a:xfrm>
          <a:prstGeom prst="line">
            <a:avLst/>
          </a:prstGeom>
          <a:ln w="34925">
            <a:solidFill>
              <a:srgbClr val="E22A8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52141" y="1998243"/>
            <a:ext cx="507776" cy="4684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0" name="Группа 31"/>
          <p:cNvGrpSpPr/>
          <p:nvPr/>
        </p:nvGrpSpPr>
        <p:grpSpPr>
          <a:xfrm>
            <a:off x="10717183" y="96046"/>
            <a:ext cx="672816" cy="817645"/>
            <a:chOff x="684213" y="839788"/>
            <a:chExt cx="1165225" cy="1416049"/>
          </a:xfrm>
        </p:grpSpPr>
        <p:sp>
          <p:nvSpPr>
            <p:cNvPr id="22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30" name="Picture 4506"/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415194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074" y="1155335"/>
            <a:ext cx="9318837" cy="36510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ЕДЕРАЛЬНЫЙ ЗАКОН «ОБ ОБРАЗОВАНИИ В РФ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425249" y="2159077"/>
            <a:ext cx="7928551" cy="480131"/>
          </a:xfrm>
          <a:prstGeom prst="rect">
            <a:avLst/>
          </a:prstGeom>
          <a:solidFill>
            <a:schemeClr val="bg1">
              <a:alpha val="95000"/>
            </a:schemeClr>
          </a:solidFill>
          <a:ln w="28575"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l" defTabSz="914400" hangingPunct="1">
              <a:lnSpc>
                <a:spcPct val="90000"/>
              </a:lnSpc>
              <a:spcBef>
                <a:spcPts val="1000"/>
              </a:spcBef>
            </a:pPr>
            <a:r>
              <a:rPr lang="ru-RU" sz="2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П.9. «ПООП разрабатываются … на основе ФГОС…»</a:t>
            </a:r>
            <a:endParaRPr lang="ru-RU" sz="2800" kern="12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425249" y="2980841"/>
            <a:ext cx="7928551" cy="1255728"/>
          </a:xfrm>
          <a:prstGeom prst="rect">
            <a:avLst/>
          </a:prstGeom>
          <a:solidFill>
            <a:schemeClr val="bg1">
              <a:alpha val="95000"/>
            </a:schemeClr>
          </a:solidFill>
          <a:ln w="28575"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l" defTabSz="914400" hangingPunct="1">
              <a:lnSpc>
                <a:spcPct val="90000"/>
              </a:lnSpc>
              <a:spcBef>
                <a:spcPts val="1000"/>
              </a:spcBef>
            </a:pPr>
            <a:r>
              <a:rPr lang="ru-RU" sz="2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П.10. «ПООП включаются по результатам экспертизы в реестр ПООП, являющейся государственной информационной системой»</a:t>
            </a:r>
            <a:endParaRPr lang="ru-RU" sz="2800" kern="12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grpSp>
        <p:nvGrpSpPr>
          <p:cNvPr id="12" name="Группа 31"/>
          <p:cNvGrpSpPr/>
          <p:nvPr/>
        </p:nvGrpSpPr>
        <p:grpSpPr>
          <a:xfrm>
            <a:off x="10717183" y="96046"/>
            <a:ext cx="672816" cy="817645"/>
            <a:chOff x="684213" y="839788"/>
            <a:chExt cx="1165225" cy="1416049"/>
          </a:xfrm>
        </p:grpSpPr>
        <p:sp>
          <p:nvSpPr>
            <p:cNvPr id="13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7" name="Picture 4506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533152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0074" y="1155335"/>
            <a:ext cx="9318837" cy="36510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ЕДЕРАЛЬНЫЙ ЗАКОН «ОБ ОБРАЗОВАНИИ В РФ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425249" y="2159077"/>
            <a:ext cx="7928551" cy="1643527"/>
          </a:xfrm>
          <a:prstGeom prst="rect">
            <a:avLst/>
          </a:prstGeom>
          <a:solidFill>
            <a:schemeClr val="bg1">
              <a:alpha val="95000"/>
            </a:schemeClr>
          </a:solidFill>
          <a:ln w="28575">
            <a:solidFill>
              <a:schemeClr val="accent4"/>
            </a:solidFill>
          </a:ln>
        </p:spPr>
        <p:txBody>
          <a:bodyPr wrap="square">
            <a:spAutoFit/>
          </a:bodyPr>
          <a:lstStyle/>
          <a:p>
            <a:pPr algn="l" defTabSz="914400" hangingPunct="1">
              <a:lnSpc>
                <a:spcPct val="90000"/>
              </a:lnSpc>
              <a:spcBef>
                <a:spcPts val="1000"/>
              </a:spcBef>
            </a:pPr>
            <a:r>
              <a:rPr lang="ru-RU" sz="2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П.7. «Организации</a:t>
            </a:r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, осуществляющие образовательную деятельность …, разрабатывают образовательные программы в соответствии с ФГОС и с учётом соответствующих </a:t>
            </a:r>
            <a:r>
              <a:rPr lang="ru-RU" sz="2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ПООП»</a:t>
            </a:r>
            <a:endParaRPr lang="ru-RU" sz="2800" kern="12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grpSp>
        <p:nvGrpSpPr>
          <p:cNvPr id="5" name="Группа 31"/>
          <p:cNvGrpSpPr/>
          <p:nvPr/>
        </p:nvGrpSpPr>
        <p:grpSpPr>
          <a:xfrm>
            <a:off x="10717183" y="96046"/>
            <a:ext cx="672816" cy="817645"/>
            <a:chOff x="684213" y="839788"/>
            <a:chExt cx="1165225" cy="1416049"/>
          </a:xfrm>
        </p:grpSpPr>
        <p:sp>
          <p:nvSpPr>
            <p:cNvPr id="6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3" name="Picture 4506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067743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ФЕДЕРАЛЬНЫЙ ГОСУДАРСТВЕННЫЙ ОБРАЗОВАТЕЛЬНЫЙ СТАНДАРТ ОСНОВНОГО ОБЩЕГО ОБРАЗОВАНИЯ</a:t>
            </a:r>
            <a:endParaRPr lang="ru-RU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5208271" y="3285909"/>
            <a:ext cx="6145530" cy="873772"/>
          </a:xfrm>
          <a:prstGeom prst="roundRect">
            <a:avLst/>
          </a:prstGeom>
          <a:solidFill>
            <a:srgbClr val="F79646">
              <a:lumMod val="75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defTabSz="457200" hangingPunct="1">
              <a:defRPr/>
            </a:pPr>
            <a:r>
              <a:rPr lang="ru-RU" sz="2200" b="1" kern="1200" dirty="0">
                <a:solidFill>
                  <a:prstClr val="white"/>
                </a:solidFill>
              </a:rPr>
              <a:t>СТРУКТУРЕ </a:t>
            </a:r>
            <a:r>
              <a:rPr lang="ru-RU" sz="2200" b="1" kern="1200" dirty="0" smtClean="0">
                <a:solidFill>
                  <a:prstClr val="white"/>
                </a:solidFill>
              </a:rPr>
              <a:t>ОСНОВНОЙ </a:t>
            </a:r>
          </a:p>
          <a:p>
            <a:pPr defTabSz="457200" hangingPunct="1">
              <a:defRPr/>
            </a:pPr>
            <a:r>
              <a:rPr lang="ru-RU" sz="2200" b="1" kern="1200" dirty="0" smtClean="0">
                <a:solidFill>
                  <a:prstClr val="white"/>
                </a:solidFill>
              </a:rPr>
              <a:t>ОБРАЗОВАТЕЛЬНОЙ ПРОГРАММЫ</a:t>
            </a:r>
            <a:endParaRPr lang="ru-RU" sz="2200" b="1" kern="1200" dirty="0">
              <a:solidFill>
                <a:prstClr val="white"/>
              </a:solidFill>
            </a:endParaRPr>
          </a:p>
        </p:txBody>
      </p:sp>
      <p:sp>
        <p:nvSpPr>
          <p:cNvPr id="4" name="Овал 3"/>
          <p:cNvSpPr/>
          <p:nvPr/>
        </p:nvSpPr>
        <p:spPr>
          <a:xfrm>
            <a:off x="5275693" y="3051007"/>
            <a:ext cx="466064" cy="466064"/>
          </a:xfrm>
          <a:prstGeom prst="ellipse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defTabSz="457200" hangingPunct="1">
              <a:defRPr/>
            </a:pPr>
            <a:r>
              <a:rPr lang="ru-RU" sz="1800" kern="1200" dirty="0">
                <a:solidFill>
                  <a:prstClr val="white"/>
                </a:solidFill>
                <a:latin typeface="Calibri"/>
              </a:rPr>
              <a:t>2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5208271" y="2012214"/>
            <a:ext cx="6145530" cy="873772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defTabSz="457200" hangingPunct="1">
              <a:defRPr/>
            </a:pPr>
            <a:r>
              <a:rPr lang="ru-RU" sz="2200" b="1" kern="1200" dirty="0" smtClean="0">
                <a:solidFill>
                  <a:prstClr val="white"/>
                </a:solidFill>
              </a:rPr>
              <a:t>РЕЗУЛЬТАТАМ </a:t>
            </a:r>
            <a:r>
              <a:rPr lang="ru-RU" sz="2200" b="1" kern="1200" dirty="0">
                <a:solidFill>
                  <a:prstClr val="white"/>
                </a:solidFill>
              </a:rPr>
              <a:t>ОСВОЕНИЯ </a:t>
            </a:r>
            <a:r>
              <a:rPr lang="ru-RU" sz="2200" b="1" kern="1200" dirty="0" smtClean="0">
                <a:solidFill>
                  <a:prstClr val="white"/>
                </a:solidFill>
              </a:rPr>
              <a:t>ОСНОВНОЙ ОБРАЗОВАТЕЛЬНОЙ ПРОГРАММЫ</a:t>
            </a:r>
            <a:endParaRPr lang="ru-RU" sz="2200" b="1" kern="1200" dirty="0">
              <a:solidFill>
                <a:prstClr val="white"/>
              </a:solidFill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5275693" y="1779182"/>
            <a:ext cx="466064" cy="466064"/>
          </a:xfrm>
          <a:prstGeom prst="ellipse">
            <a:avLst/>
          </a:prstGeom>
          <a:solidFill>
            <a:srgbClr val="E46C0A"/>
          </a:solidFill>
          <a:ln w="25400" cap="flat" cmpd="sng" algn="ctr">
            <a:noFill/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defTabSz="457200" hangingPunct="1">
              <a:defRPr/>
            </a:pPr>
            <a:r>
              <a:rPr lang="ru-RU" sz="1800" kern="1200" dirty="0">
                <a:solidFill>
                  <a:prstClr val="white"/>
                </a:solidFill>
                <a:latin typeface="Calibri"/>
              </a:rPr>
              <a:t>1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208271" y="4559604"/>
            <a:ext cx="6145530" cy="873772"/>
          </a:xfrm>
          <a:prstGeom prst="round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defTabSz="457200" hangingPunct="1">
              <a:defRPr/>
            </a:pPr>
            <a:r>
              <a:rPr lang="ru-RU" sz="2200" b="1" kern="1200" dirty="0">
                <a:solidFill>
                  <a:prstClr val="white"/>
                </a:solidFill>
              </a:rPr>
              <a:t>УСЛОВИЯМ РЕАЛИЗАЦИИ </a:t>
            </a:r>
            <a:r>
              <a:rPr lang="ru-RU" sz="2200" b="1" kern="1200" dirty="0" smtClean="0">
                <a:solidFill>
                  <a:prstClr val="white"/>
                </a:solidFill>
              </a:rPr>
              <a:t>ОСНОВНОЙ ОБРАЗОВАТЕЛЬНОЙ ПРОГРАММЫ</a:t>
            </a:r>
            <a:endParaRPr lang="ru-RU" sz="2200" b="1" kern="1200" dirty="0">
              <a:solidFill>
                <a:prstClr val="white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5275693" y="4326571"/>
            <a:ext cx="466064" cy="466064"/>
          </a:xfrm>
          <a:prstGeom prst="ellipse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defTabSz="457200" hangingPunct="1">
              <a:defRPr/>
            </a:pPr>
            <a:r>
              <a:rPr lang="ru-RU" sz="1800" kern="1200" dirty="0">
                <a:solidFill>
                  <a:prstClr val="white"/>
                </a:solidFill>
                <a:latin typeface="Calibri"/>
              </a:rPr>
              <a:t>3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199" y="1005840"/>
            <a:ext cx="3774273" cy="5260933"/>
          </a:xfrm>
          <a:prstGeom prst="rect">
            <a:avLst/>
          </a:prstGeom>
        </p:spPr>
      </p:pic>
      <p:grpSp>
        <p:nvGrpSpPr>
          <p:cNvPr id="20" name="Группа 31"/>
          <p:cNvGrpSpPr/>
          <p:nvPr/>
        </p:nvGrpSpPr>
        <p:grpSpPr>
          <a:xfrm>
            <a:off x="728030" y="898654"/>
            <a:ext cx="672816" cy="817645"/>
            <a:chOff x="684213" y="839788"/>
            <a:chExt cx="1165225" cy="1416049"/>
          </a:xfrm>
        </p:grpSpPr>
        <p:sp>
          <p:nvSpPr>
            <p:cNvPr id="21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25" name="Picture 4506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6" name="Прямоугольник 25"/>
          <p:cNvSpPr/>
          <p:nvPr/>
        </p:nvSpPr>
        <p:spPr>
          <a:xfrm>
            <a:off x="5179985" y="1146723"/>
            <a:ext cx="620210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Стандарт включает в себя </a:t>
            </a:r>
            <a:r>
              <a:rPr lang="ru-RU" sz="280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требования к:</a:t>
            </a:r>
            <a:endParaRPr lang="ru-RU" sz="2800" kern="12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7866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Группа 21"/>
          <p:cNvGrpSpPr/>
          <p:nvPr/>
        </p:nvGrpSpPr>
        <p:grpSpPr>
          <a:xfrm>
            <a:off x="640256" y="3395406"/>
            <a:ext cx="3384000" cy="705645"/>
            <a:chOff x="633943" y="2490272"/>
            <a:chExt cx="2959483" cy="747244"/>
          </a:xfrm>
        </p:grpSpPr>
        <p:sp>
          <p:nvSpPr>
            <p:cNvPr id="27" name="Скругленный прямоугольник 26"/>
            <p:cNvSpPr/>
            <p:nvPr/>
          </p:nvSpPr>
          <p:spPr>
            <a:xfrm>
              <a:off x="633943" y="2490272"/>
              <a:ext cx="2959483" cy="747244"/>
            </a:xfrm>
            <a:prstGeom prst="roundRect">
              <a:avLst>
                <a:gd name="adj" fmla="val 10000"/>
              </a:avLst>
            </a:prstGeom>
            <a:ln>
              <a:solidFill>
                <a:srgbClr val="7030A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" name="Скругленный прямоугольник 8"/>
            <p:cNvSpPr txBox="1"/>
            <p:nvPr/>
          </p:nvSpPr>
          <p:spPr>
            <a:xfrm>
              <a:off x="655829" y="2512158"/>
              <a:ext cx="2915711" cy="70347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480" tIns="20320" rIns="30480" bIns="20320" numCol="1" spcCol="1270" anchor="ctr" anchorCtr="0">
              <a:noAutofit/>
            </a:bodyPr>
            <a:lstStyle/>
            <a:p>
              <a:pPr lvl="0" algn="ctr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1600" b="1" i="0" kern="1200" dirty="0" smtClean="0">
                  <a:solidFill>
                    <a:srgbClr val="E22A8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мыслообразование</a:t>
              </a:r>
            </a:p>
            <a:p>
              <a:pPr lvl="0" algn="ctr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endParaRPr lang="ru-RU" sz="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lvl="0" indent="-285750" algn="ctr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отивация (учебная и социальная)</a:t>
              </a:r>
              <a:endParaRPr lang="ru-RU" sz="1400" b="0" i="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2" name="Группа 31"/>
          <p:cNvGrpSpPr/>
          <p:nvPr/>
        </p:nvGrpSpPr>
        <p:grpSpPr>
          <a:xfrm>
            <a:off x="4421129" y="3770731"/>
            <a:ext cx="3384000" cy="1942658"/>
            <a:chOff x="3943910" y="1061308"/>
            <a:chExt cx="3890086" cy="1885746"/>
          </a:xfrm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3943910" y="1061308"/>
              <a:ext cx="3890086" cy="1885746"/>
            </a:xfrm>
            <a:prstGeom prst="roundRect">
              <a:avLst>
                <a:gd name="adj" fmla="val 5587"/>
              </a:avLst>
            </a:prstGeom>
            <a:ln>
              <a:solidFill>
                <a:srgbClr val="00B05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2" name="Скругленный прямоугольник 5"/>
            <p:cNvSpPr txBox="1"/>
            <p:nvPr/>
          </p:nvSpPr>
          <p:spPr>
            <a:xfrm>
              <a:off x="3999142" y="1116540"/>
              <a:ext cx="3779622" cy="177528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480" tIns="20320" rIns="30480" bIns="2032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1600" b="1" i="0" kern="1200" dirty="0" smtClean="0">
                  <a:solidFill>
                    <a:srgbClr val="E22A8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знавательные</a:t>
              </a:r>
            </a:p>
            <a:p>
              <a:pPr lvl="0" algn="ctr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endParaRPr lang="ru-RU" sz="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lvl="0" indent="-285750" algn="l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а с информацией</a:t>
              </a:r>
            </a:p>
            <a:p>
              <a:pPr marL="285750" lvl="0" indent="-285750" algn="l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а с учебными моделями</a:t>
              </a:r>
            </a:p>
            <a:p>
              <a:pPr marL="285750" lvl="0" indent="-285750" algn="l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спользование знаково-символических средств</a:t>
              </a:r>
            </a:p>
            <a:p>
              <a:pPr marL="285750" lvl="0" indent="-285750" algn="l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полнение логических операций</a:t>
              </a:r>
            </a:p>
            <a:p>
              <a:pPr marL="285750" lvl="0" indent="-285750" algn="l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пределение границ собственного знания и незнания</a:t>
              </a:r>
              <a:endParaRPr lang="ru-RU" sz="1400" b="0" i="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Скругленный прямоугольник 2"/>
          <p:cNvSpPr/>
          <p:nvPr/>
        </p:nvSpPr>
        <p:spPr>
          <a:xfrm>
            <a:off x="2051898" y="160757"/>
            <a:ext cx="8088204" cy="1080000"/>
          </a:xfrm>
          <a:prstGeom prst="round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kern="0" dirty="0" smtClean="0">
                <a:solidFill>
                  <a:prstClr val="white"/>
                </a:solidFill>
                <a:latin typeface="Calibri"/>
              </a:rPr>
              <a:t>ТРЕБОВАНИЯ К </a:t>
            </a: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ЗУЛЬТАТАМ ОСВОЕНИЯ ОСНОВНОЙ ОБРАЗОВАТЕЛЬНОЙ ПРОГРАММЫ</a:t>
            </a:r>
            <a:endParaRPr kumimoji="0" lang="ru-RU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Овал 3"/>
          <p:cNvSpPr/>
          <p:nvPr/>
        </p:nvSpPr>
        <p:spPr>
          <a:xfrm>
            <a:off x="1768436" y="415211"/>
            <a:ext cx="576064" cy="576064"/>
          </a:xfrm>
          <a:prstGeom prst="ellipse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ru-RU" sz="3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712257" y="1387697"/>
            <a:ext cx="3240000" cy="720000"/>
          </a:xfrm>
          <a:prstGeom prst="roundRect">
            <a:avLst/>
          </a:prstGeom>
          <a:solidFill>
            <a:srgbClr val="7030A0"/>
          </a:solidFill>
          <a:ln w="25400" cap="flat" cmpd="sng" algn="ctr">
            <a:noFill/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ичностные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493129" y="1393033"/>
            <a:ext cx="3240000" cy="720000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тапредметные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8274000" y="1391997"/>
            <a:ext cx="3240000" cy="720000"/>
          </a:xfrm>
          <a:prstGeom prst="roundRect">
            <a:avLst/>
          </a:prstGeom>
          <a:solidFill>
            <a:srgbClr val="F79646">
              <a:lumMod val="75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едметные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8202000" y="2206627"/>
            <a:ext cx="3384000" cy="512595"/>
            <a:chOff x="7988194" y="1061308"/>
            <a:chExt cx="2446693" cy="512595"/>
          </a:xfrm>
        </p:grpSpPr>
        <p:sp>
          <p:nvSpPr>
            <p:cNvPr id="17" name="Скругленный прямоугольник 16"/>
            <p:cNvSpPr/>
            <p:nvPr/>
          </p:nvSpPr>
          <p:spPr>
            <a:xfrm>
              <a:off x="7988194" y="1061308"/>
              <a:ext cx="2446693" cy="512595"/>
            </a:xfrm>
            <a:prstGeom prst="roundRect">
              <a:avLst>
                <a:gd name="adj" fmla="val 10000"/>
              </a:avLst>
            </a:prstGeom>
            <a:ln>
              <a:solidFill>
                <a:srgbClr val="E46C0A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Скругленный прямоугольник 4"/>
            <p:cNvSpPr txBox="1"/>
            <p:nvPr/>
          </p:nvSpPr>
          <p:spPr>
            <a:xfrm>
              <a:off x="8003207" y="1076321"/>
              <a:ext cx="2416667" cy="48256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" tIns="16510" rIns="24765" bIns="16510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сновы системы научных знаний</a:t>
              </a:r>
              <a:endParaRPr lang="ru-RU" sz="1300" b="0" i="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8202000" y="2796322"/>
            <a:ext cx="3384000" cy="970602"/>
            <a:chOff x="7988194" y="1651003"/>
            <a:chExt cx="2446693" cy="970602"/>
          </a:xfrm>
        </p:grpSpPr>
        <p:sp>
          <p:nvSpPr>
            <p:cNvPr id="15" name="Скругленный прямоугольник 14"/>
            <p:cNvSpPr/>
            <p:nvPr/>
          </p:nvSpPr>
          <p:spPr>
            <a:xfrm>
              <a:off x="7988194" y="1651003"/>
              <a:ext cx="2446693" cy="970602"/>
            </a:xfrm>
            <a:prstGeom prst="roundRect">
              <a:avLst>
                <a:gd name="adj" fmla="val 5093"/>
              </a:avLst>
            </a:prstGeom>
            <a:ln>
              <a:solidFill>
                <a:srgbClr val="E46C0A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Скругленный прямоугольник 7"/>
            <p:cNvSpPr txBox="1"/>
            <p:nvPr/>
          </p:nvSpPr>
          <p:spPr>
            <a:xfrm>
              <a:off x="8016622" y="1679431"/>
              <a:ext cx="2389837" cy="91374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24765" tIns="16510" rIns="24765" bIns="16510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пыт предметной деятельности по получению, преобразованию и применению нового знания</a:t>
              </a:r>
              <a:endParaRPr lang="ru-RU" sz="1300" b="0" i="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640257" y="2207453"/>
            <a:ext cx="3384000" cy="1088197"/>
            <a:chOff x="633943" y="1061308"/>
            <a:chExt cx="2985792" cy="1351865"/>
          </a:xfrm>
        </p:grpSpPr>
        <p:sp>
          <p:nvSpPr>
            <p:cNvPr id="29" name="Скругленный прямоугольник 28"/>
            <p:cNvSpPr/>
            <p:nvPr/>
          </p:nvSpPr>
          <p:spPr>
            <a:xfrm>
              <a:off x="633943" y="1061308"/>
              <a:ext cx="2985792" cy="1351865"/>
            </a:xfrm>
            <a:prstGeom prst="roundRect">
              <a:avLst>
                <a:gd name="adj" fmla="val 8165"/>
              </a:avLst>
            </a:prstGeom>
            <a:ln>
              <a:solidFill>
                <a:srgbClr val="7030A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0" name="Скругленный прямоугольник 5"/>
            <p:cNvSpPr txBox="1"/>
            <p:nvPr/>
          </p:nvSpPr>
          <p:spPr>
            <a:xfrm>
              <a:off x="673538" y="1100903"/>
              <a:ext cx="2906602" cy="127267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480" tIns="20320" rIns="30480" bIns="2032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1600" b="1" i="0" kern="1200" dirty="0" smtClean="0">
                  <a:solidFill>
                    <a:srgbClr val="E22A8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амоопределение</a:t>
              </a:r>
            </a:p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</a:pPr>
              <a:endParaRPr lang="ru-RU" sz="400" b="1" i="0" kern="12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lvl="0" indent="-285750" defTabSz="7112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i="0" kern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Внутренняя позиция школьника</a:t>
              </a:r>
            </a:p>
            <a:p>
              <a:pPr marL="285750" lvl="0" indent="-285750" defTabSz="7112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</a:t>
              </a:r>
              <a:r>
                <a:rPr lang="ru-RU" sz="1400" i="0" kern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амоидентификация</a:t>
              </a:r>
              <a:endParaRPr lang="ru-RU" sz="1400" dirty="0" smtClean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lvl="0" indent="-285750" defTabSz="711200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</a:t>
              </a:r>
              <a:r>
                <a:rPr lang="ru-RU" sz="1400" i="0" kern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амоуважение и самооценка</a:t>
              </a:r>
              <a:endParaRPr lang="ru-RU" sz="1400" i="0" kern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640256" y="4200807"/>
            <a:ext cx="3384000" cy="2046612"/>
            <a:chOff x="627740" y="3314616"/>
            <a:chExt cx="2975761" cy="2125326"/>
          </a:xfrm>
        </p:grpSpPr>
        <p:sp>
          <p:nvSpPr>
            <p:cNvPr id="25" name="Скругленный прямоугольник 24"/>
            <p:cNvSpPr/>
            <p:nvPr/>
          </p:nvSpPr>
          <p:spPr>
            <a:xfrm>
              <a:off x="627740" y="3314616"/>
              <a:ext cx="2975761" cy="2125326"/>
            </a:xfrm>
            <a:prstGeom prst="roundRect">
              <a:avLst>
                <a:gd name="adj" fmla="val 5426"/>
              </a:avLst>
            </a:prstGeom>
            <a:ln>
              <a:solidFill>
                <a:srgbClr val="7030A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6" name="Скругленный прямоугольник 11"/>
            <p:cNvSpPr txBox="1"/>
            <p:nvPr/>
          </p:nvSpPr>
          <p:spPr>
            <a:xfrm>
              <a:off x="689989" y="3376865"/>
              <a:ext cx="2851263" cy="200082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480" tIns="20320" rIns="30480" bIns="20320" numCol="1" spcCol="1270" anchor="ctr" anchorCtr="0">
              <a:noAutofit/>
            </a:bodyPr>
            <a:lstStyle/>
            <a:p>
              <a:pPr lvl="0" algn="ctr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1600" b="1" i="0" kern="1200" dirty="0" smtClean="0">
                  <a:solidFill>
                    <a:srgbClr val="E22A8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енностная и морально-этическая ориентация</a:t>
              </a:r>
            </a:p>
            <a:p>
              <a:pPr lvl="0" algn="ctr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endParaRPr lang="ru-RU" sz="400" b="1" i="0" kern="12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lvl="0" indent="-285750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риентация на выполнение морально-нравственных норм</a:t>
              </a:r>
            </a:p>
            <a:p>
              <a:pPr marL="285750" lvl="0" indent="-285750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пособность к решению моральных проблем на основе </a:t>
              </a:r>
              <a:r>
                <a:rPr lang="ru-RU" sz="1400" b="0" i="0" kern="1200" dirty="0" err="1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ецентрации</a:t>
              </a:r>
              <a:endParaRPr lang="ru-RU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lvl="0" indent="-285750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ценка своих поступков</a:t>
              </a:r>
              <a:endParaRPr lang="ru-RU" sz="1400" b="0" i="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4421129" y="2206627"/>
            <a:ext cx="3384000" cy="1470510"/>
            <a:chOff x="3943910" y="3024154"/>
            <a:chExt cx="3890086" cy="1336991"/>
          </a:xfrm>
        </p:grpSpPr>
        <p:sp>
          <p:nvSpPr>
            <p:cNvPr id="39" name="Скругленный прямоугольник 38"/>
            <p:cNvSpPr/>
            <p:nvPr/>
          </p:nvSpPr>
          <p:spPr>
            <a:xfrm>
              <a:off x="3943910" y="3024154"/>
              <a:ext cx="3890086" cy="1336991"/>
            </a:xfrm>
            <a:prstGeom prst="roundRect">
              <a:avLst>
                <a:gd name="adj" fmla="val 6114"/>
              </a:avLst>
            </a:prstGeom>
            <a:ln>
              <a:solidFill>
                <a:srgbClr val="00B05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0" name="Скругленный прямоугольник 8"/>
            <p:cNvSpPr txBox="1"/>
            <p:nvPr/>
          </p:nvSpPr>
          <p:spPr>
            <a:xfrm>
              <a:off x="3983069" y="3063313"/>
              <a:ext cx="3811768" cy="125867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480" tIns="20320" rIns="30480" bIns="20320" numCol="1" spcCol="1270" anchor="ctr" anchorCtr="0">
              <a:noAutofit/>
            </a:bodyPr>
            <a:lstStyle/>
            <a:p>
              <a:pPr lvl="0" algn="ctr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1600" b="1" i="0" kern="1200" dirty="0" smtClean="0">
                  <a:solidFill>
                    <a:srgbClr val="E22A8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гулятивные</a:t>
              </a:r>
            </a:p>
            <a:p>
              <a:pPr lvl="0" algn="ctr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endParaRPr lang="ru-RU" sz="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lvl="0" indent="-285750" algn="l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елеполагание</a:t>
              </a:r>
            </a:p>
            <a:p>
              <a:pPr marL="285750" lvl="0" indent="-285750" algn="l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ланирование</a:t>
              </a:r>
            </a:p>
            <a:p>
              <a:pPr marL="285750" lvl="0" indent="-285750" algn="l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гнозирование</a:t>
              </a:r>
            </a:p>
            <a:p>
              <a:pPr marL="285750" lvl="0" indent="-285750" algn="l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нтроль и коррекция</a:t>
              </a:r>
            </a:p>
            <a:p>
              <a:pPr marL="285750" lvl="0" indent="-285750" algn="l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ценка</a:t>
              </a:r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4421129" y="5806983"/>
            <a:ext cx="3384000" cy="878304"/>
            <a:chOff x="3943910" y="4438244"/>
            <a:chExt cx="3890086" cy="768243"/>
          </a:xfrm>
        </p:grpSpPr>
        <p:sp>
          <p:nvSpPr>
            <p:cNvPr id="37" name="Скругленный прямоугольник 36"/>
            <p:cNvSpPr/>
            <p:nvPr/>
          </p:nvSpPr>
          <p:spPr>
            <a:xfrm>
              <a:off x="3943910" y="4438244"/>
              <a:ext cx="3890086" cy="768243"/>
            </a:xfrm>
            <a:prstGeom prst="roundRect">
              <a:avLst>
                <a:gd name="adj" fmla="val 10000"/>
              </a:avLst>
            </a:prstGeom>
            <a:ln>
              <a:solidFill>
                <a:srgbClr val="00B050"/>
              </a:solidFill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8" name="Скругленный прямоугольник 11"/>
            <p:cNvSpPr txBox="1"/>
            <p:nvPr/>
          </p:nvSpPr>
          <p:spPr>
            <a:xfrm>
              <a:off x="3966411" y="4460745"/>
              <a:ext cx="3845084" cy="72324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0480" tIns="20320" rIns="30480" bIns="20320" numCol="1" spcCol="1270" anchor="ctr" anchorCtr="0">
              <a:noAutofit/>
            </a:bodyPr>
            <a:lstStyle/>
            <a:p>
              <a:pPr lvl="0" algn="ctr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r>
                <a:rPr lang="ru-RU" sz="1600" b="1" i="0" kern="1200" dirty="0" smtClean="0">
                  <a:solidFill>
                    <a:srgbClr val="E22A8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ммуникативные</a:t>
              </a:r>
            </a:p>
            <a:p>
              <a:pPr lvl="0" algn="ctr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</a:pPr>
              <a:endParaRPr lang="ru-RU" sz="400" b="1" i="0" kern="12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lvl="0" indent="-285750" algn="l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чевая деятельность</a:t>
              </a:r>
            </a:p>
            <a:p>
              <a:pPr marL="285750" lvl="0" indent="-285750" algn="l" defTabSz="71120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Ø"/>
              </a:pPr>
              <a:r>
                <a:rPr lang="ru-RU" sz="1400" b="0" i="0" kern="1200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авыки сотрудничества</a:t>
              </a:r>
              <a:endParaRPr lang="ru-RU" sz="1400" b="0" i="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2546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4133536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324100" y="3136374"/>
            <a:ext cx="9639300" cy="3046988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342900" lvl="8" indent="-342900" algn="just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</a:rPr>
              <a:t>Модуль </a:t>
            </a:r>
            <a:r>
              <a:rPr lang="ru-RU" sz="2400" b="1" dirty="0">
                <a:solidFill>
                  <a:schemeClr val="bg2">
                    <a:lumMod val="50000"/>
                  </a:schemeClr>
                </a:solidFill>
              </a:rPr>
              <a:t>«Производство и технологии»</a:t>
            </a:r>
          </a:p>
          <a:p>
            <a:pPr marL="342900" lvl="8" indent="-342900" algn="just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bg2">
                    <a:lumMod val="50000"/>
                  </a:schemeClr>
                </a:solidFill>
              </a:rPr>
              <a:t>Модуль </a:t>
            </a:r>
            <a:r>
              <a:rPr lang="ru-RU" sz="2400" b="1" dirty="0">
                <a:solidFill>
                  <a:schemeClr val="bg2">
                    <a:lumMod val="50000"/>
                  </a:schemeClr>
                </a:solidFill>
              </a:rPr>
              <a:t>«Технологии обработки материалов, пищевых продуктов»</a:t>
            </a:r>
          </a:p>
          <a:p>
            <a:pPr marL="342900" lvl="8" indent="-342900" algn="just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bg2">
                    <a:lumMod val="50000"/>
                  </a:schemeClr>
                </a:solidFill>
              </a:rPr>
              <a:t>Модуль </a:t>
            </a:r>
            <a:r>
              <a:rPr lang="ru-RU" sz="2400" b="1" dirty="0">
                <a:solidFill>
                  <a:schemeClr val="bg2">
                    <a:lumMod val="50000"/>
                  </a:schemeClr>
                </a:solidFill>
              </a:rPr>
              <a:t>«Робототехника»</a:t>
            </a:r>
          </a:p>
          <a:p>
            <a:pPr marL="342900" lvl="8" indent="-342900" algn="just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bg2">
                    <a:lumMod val="50000"/>
                  </a:schemeClr>
                </a:solidFill>
              </a:rPr>
              <a:t>Модуль </a:t>
            </a:r>
            <a:r>
              <a:rPr lang="ru-RU" sz="2400" b="1" dirty="0">
                <a:solidFill>
                  <a:schemeClr val="bg2">
                    <a:lumMod val="50000"/>
                  </a:schemeClr>
                </a:solidFill>
              </a:rPr>
              <a:t>«Автоматизированные системы»</a:t>
            </a:r>
          </a:p>
          <a:p>
            <a:pPr marL="342900" lvl="8" indent="-342900" algn="just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bg2">
                    <a:lumMod val="50000"/>
                  </a:schemeClr>
                </a:solidFill>
              </a:rPr>
              <a:t>Модуль </a:t>
            </a:r>
            <a:r>
              <a:rPr lang="ru-RU" sz="2400" b="1" dirty="0">
                <a:solidFill>
                  <a:schemeClr val="bg2">
                    <a:lumMod val="50000"/>
                  </a:schemeClr>
                </a:solidFill>
              </a:rPr>
              <a:t>«3D-моделирование, </a:t>
            </a:r>
            <a:r>
              <a:rPr lang="ru-RU" sz="2400" b="1" dirty="0" err="1">
                <a:solidFill>
                  <a:schemeClr val="bg2">
                    <a:lumMod val="50000"/>
                  </a:schemeClr>
                </a:solidFill>
              </a:rPr>
              <a:t>прототипирование</a:t>
            </a:r>
            <a:r>
              <a:rPr lang="ru-RU" sz="2400" b="1" dirty="0">
                <a:solidFill>
                  <a:schemeClr val="bg2">
                    <a:lumMod val="50000"/>
                  </a:schemeClr>
                </a:solidFill>
              </a:rPr>
              <a:t> и макетирование»</a:t>
            </a:r>
          </a:p>
          <a:p>
            <a:pPr marL="342900" lvl="8" indent="-342900" algn="just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bg2">
                    <a:lumMod val="50000"/>
                  </a:schemeClr>
                </a:solidFill>
              </a:rPr>
              <a:t>Модуль </a:t>
            </a:r>
            <a:r>
              <a:rPr lang="ru-RU" sz="2400" b="1" dirty="0">
                <a:solidFill>
                  <a:schemeClr val="bg2">
                    <a:lumMod val="50000"/>
                  </a:schemeClr>
                </a:solidFill>
              </a:rPr>
              <a:t>«Компьютерная графика, черчение»</a:t>
            </a:r>
          </a:p>
          <a:p>
            <a:pPr marL="342900" lvl="8" indent="-342900" algn="just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bg2">
                    <a:lumMod val="50000"/>
                  </a:schemeClr>
                </a:solidFill>
              </a:rPr>
              <a:t>Модуль </a:t>
            </a:r>
            <a:r>
              <a:rPr lang="ru-RU" sz="2400" b="1" dirty="0">
                <a:solidFill>
                  <a:schemeClr val="bg2">
                    <a:lumMod val="50000"/>
                  </a:schemeClr>
                </a:solidFill>
              </a:rPr>
              <a:t>«Растениеводство»* </a:t>
            </a:r>
            <a:endParaRPr lang="ru-RU" sz="2400" b="1" dirty="0" smtClean="0">
              <a:solidFill>
                <a:schemeClr val="bg2">
                  <a:lumMod val="50000"/>
                </a:schemeClr>
              </a:solidFill>
            </a:endParaRPr>
          </a:p>
          <a:p>
            <a:pPr marL="342900" lvl="8" indent="-342900" algn="just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schemeClr val="bg2">
                    <a:lumMod val="50000"/>
                  </a:schemeClr>
                </a:solidFill>
              </a:rPr>
              <a:t>Модуль </a:t>
            </a:r>
            <a:r>
              <a:rPr lang="ru-RU" sz="2400" b="1" dirty="0">
                <a:solidFill>
                  <a:schemeClr val="bg2">
                    <a:lumMod val="50000"/>
                  </a:schemeClr>
                </a:solidFill>
              </a:rPr>
              <a:t>«Животноводство</a:t>
            </a:r>
            <a:r>
              <a:rPr lang="ru-RU" sz="2400" b="1" dirty="0" smtClean="0">
                <a:solidFill>
                  <a:schemeClr val="bg2">
                    <a:lumMod val="50000"/>
                  </a:schemeClr>
                </a:solidFill>
              </a:rPr>
              <a:t>»*</a:t>
            </a:r>
            <a:endParaRPr lang="ru-RU" sz="18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28" name="Picture 4" descr="https://www.hastac.org/sites/default/files/styles/post_image/public/upload/images/post/8699798395_d918d842ec_o.png?itok=ZMpn9Qu7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6299" y="749485"/>
            <a:ext cx="2124075" cy="61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Группа 5"/>
          <p:cNvGrpSpPr/>
          <p:nvPr/>
        </p:nvGrpSpPr>
        <p:grpSpPr>
          <a:xfrm>
            <a:off x="6779185" y="5755018"/>
            <a:ext cx="5099429" cy="908001"/>
            <a:chOff x="3271837" y="5157192"/>
            <a:chExt cx="5683807" cy="1012055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3271837" y="5157192"/>
              <a:ext cx="5683807" cy="792088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sz="2000" u="sng" dirty="0">
                  <a:solidFill>
                    <a:srgbClr val="0070C0"/>
                  </a:solidFill>
                  <a:latin typeface="+mj-lt"/>
                </a:rPr>
                <a:t>https://www.preobra.ru/improject-4612</a:t>
              </a:r>
              <a:endParaRPr lang="ru-RU" sz="2000" u="sng" dirty="0">
                <a:solidFill>
                  <a:srgbClr val="0070C0"/>
                </a:solidFill>
                <a:latin typeface="+mj-lt"/>
              </a:endParaRPr>
            </a:p>
          </p:txBody>
        </p:sp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12473" y="5661248"/>
              <a:ext cx="507999" cy="5079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2957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Заголовок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 smtClean="0"/>
              <a:t>ПРИМЕРНАЯ ОСНОВНАЯ ОБРАЗОВАТЕЛЬНАЯ ПРОГРАММА </a:t>
            </a:r>
            <a:br>
              <a:rPr lang="ru-RU" dirty="0" smtClean="0"/>
            </a:br>
            <a:r>
              <a:rPr lang="ru-RU" dirty="0" smtClean="0"/>
              <a:t>ОСНОВНОГО ОБЩЕГО ОБРАЗОВАНИЯ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4667832" y="1716299"/>
            <a:ext cx="6685968" cy="4550474"/>
          </a:xfrm>
        </p:spPr>
        <p:txBody>
          <a:bodyPr>
            <a:normAutofit/>
          </a:bodyPr>
          <a:lstStyle/>
          <a:p>
            <a:pPr algn="just"/>
            <a:r>
              <a:rPr lang="ru-RU" dirty="0" smtClean="0"/>
              <a:t>Примерная программа – документ,  рекомендательного характера, который  детально раскрывает </a:t>
            </a:r>
            <a:r>
              <a:rPr lang="ru-RU" dirty="0" smtClean="0">
                <a:solidFill>
                  <a:srgbClr val="E22A8B"/>
                </a:solidFill>
              </a:rPr>
              <a:t>обязательную  часть содержания обучения и параметры качества усвоения учебного материала </a:t>
            </a:r>
            <a:r>
              <a:rPr lang="ru-RU" dirty="0" smtClean="0"/>
              <a:t>по конкретному предмету учебного плана.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359" y="1005839"/>
            <a:ext cx="3711559" cy="52609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2" name="Группа 31"/>
          <p:cNvGrpSpPr/>
          <p:nvPr/>
        </p:nvGrpSpPr>
        <p:grpSpPr>
          <a:xfrm>
            <a:off x="728030" y="898654"/>
            <a:ext cx="672816" cy="817645"/>
            <a:chOff x="684213" y="839788"/>
            <a:chExt cx="1165225" cy="1416049"/>
          </a:xfrm>
        </p:grpSpPr>
        <p:sp>
          <p:nvSpPr>
            <p:cNvPr id="13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7" name="Picture 4506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400403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НАЯ ОСНОВНАЯ ОБРАЗОВАТЕЛЬНАЯ ПРОГРАММА </a:t>
            </a:r>
            <a:br>
              <a:rPr lang="ru-RU" dirty="0" smtClean="0"/>
            </a:br>
            <a:r>
              <a:rPr lang="ru-RU" dirty="0" smtClean="0"/>
              <a:t>ОСНОВНОГО ОБЩЕГО ОБРАЗОВАНИЯ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359" y="1005839"/>
            <a:ext cx="3711559" cy="52609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4" name="Схема 3"/>
          <p:cNvGraphicFramePr/>
          <p:nvPr>
            <p:extLst/>
          </p:nvPr>
        </p:nvGraphicFramePr>
        <p:xfrm>
          <a:off x="4751480" y="1005839"/>
          <a:ext cx="7167399" cy="43338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14" name="Группа 31"/>
          <p:cNvGrpSpPr/>
          <p:nvPr/>
        </p:nvGrpSpPr>
        <p:grpSpPr>
          <a:xfrm>
            <a:off x="728030" y="898654"/>
            <a:ext cx="672816" cy="817645"/>
            <a:chOff x="684213" y="839788"/>
            <a:chExt cx="1165225" cy="1416049"/>
          </a:xfrm>
        </p:grpSpPr>
        <p:sp>
          <p:nvSpPr>
            <p:cNvPr id="15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9" name="Picture 4506"/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532643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временная школ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199" y="1859280"/>
            <a:ext cx="6060877" cy="4317683"/>
          </a:xfrm>
        </p:spPr>
        <p:txBody>
          <a:bodyPr/>
          <a:lstStyle/>
          <a:p>
            <a:pPr marL="0" indent="0">
              <a:buNone/>
            </a:pPr>
            <a:endParaRPr lang="en-US" sz="3500" dirty="0">
              <a:latin typeface="+mj-lt"/>
            </a:endParaRPr>
          </a:p>
          <a:p>
            <a:pPr marL="0" indent="0">
              <a:buNone/>
            </a:pPr>
            <a:r>
              <a:rPr lang="ru-RU" sz="3500" b="1" dirty="0" smtClean="0">
                <a:latin typeface="+mj-lt"/>
              </a:rPr>
              <a:t>Задача проекта:</a:t>
            </a:r>
          </a:p>
          <a:p>
            <a:r>
              <a:rPr lang="ru-RU" dirty="0" smtClean="0">
                <a:latin typeface="+mj-lt"/>
              </a:rPr>
              <a:t>внедрение новых методов обучения и воспитания, современных образовательных технологий</a:t>
            </a:r>
          </a:p>
          <a:p>
            <a:r>
              <a:rPr lang="ru-RU" dirty="0" smtClean="0">
                <a:solidFill>
                  <a:srgbClr val="E22A8B"/>
                </a:solidFill>
                <a:latin typeface="+mj-lt"/>
              </a:rPr>
              <a:t>обновление содержания и совершенствование методов обучения предмету «Технология»</a:t>
            </a:r>
            <a:endParaRPr lang="ru-RU" dirty="0">
              <a:solidFill>
                <a:srgbClr val="E22A8B"/>
              </a:solidFill>
              <a:latin typeface="+mj-lt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3000" b="0" dirty="0"/>
              <a:t>Главные цифры проекта (к 2024 году):</a:t>
            </a:r>
          </a:p>
          <a:p>
            <a:r>
              <a:rPr lang="ru-RU" b="0" dirty="0" smtClean="0"/>
              <a:t>проведение комплексной оценки качества общего образования</a:t>
            </a:r>
          </a:p>
          <a:p>
            <a:r>
              <a:rPr lang="ru-RU" b="0" dirty="0" smtClean="0"/>
              <a:t>создание современной МТБ в 16 тыс. школ в сельской местности и малых городах</a:t>
            </a:r>
          </a:p>
          <a:p>
            <a:r>
              <a:rPr lang="ru-RU" b="0" dirty="0" smtClean="0"/>
              <a:t>создание новых мест в общеобразовательных организациях для 230 тысяч детей</a:t>
            </a:r>
          </a:p>
          <a:p>
            <a:r>
              <a:rPr lang="ru-RU" b="0" dirty="0" smtClean="0"/>
              <a:t>участие 70% школьников в различных формах сопровождения и наставничества </a:t>
            </a:r>
          </a:p>
          <a:p>
            <a:r>
              <a:rPr lang="ru-RU" b="0" dirty="0" smtClean="0"/>
              <a:t>реализация общеобразовательных программ в сетевой форме 70% образовательных организаций </a:t>
            </a:r>
          </a:p>
          <a:p>
            <a:r>
              <a:rPr lang="ru-RU" b="0" dirty="0" smtClean="0"/>
              <a:t>строительство и введение в эксплуатацию не менее 25 школ с привлечением частных инвестиций</a:t>
            </a:r>
            <a:endParaRPr lang="ru-RU" b="0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3082771" y="1262893"/>
            <a:ext cx="935645" cy="935641"/>
            <a:chOff x="576954" y="1933225"/>
            <a:chExt cx="935645" cy="935641"/>
          </a:xfrm>
        </p:grpSpPr>
        <p:sp>
          <p:nvSpPr>
            <p:cNvPr id="6" name="Овал 5">
              <a:extLst>
                <a:ext uri="{FF2B5EF4-FFF2-40B4-BE49-F238E27FC236}">
                  <a16:creationId xmlns:a16="http://schemas.microsoft.com/office/drawing/2014/main" xmlns="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defTabSz="914400" hangingPunct="1"/>
              <a:endParaRPr lang="ru-RU" sz="2800" kern="1200" dirty="0">
                <a:solidFill>
                  <a:prstClr val="white">
                    <a:lumMod val="85000"/>
                  </a:prst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xmlns="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5887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ПРИМЕРНАЯ ОСНОВНАЯ ОБРАЗОВАТЕЛЬНАЯ ПРОГРАММА </a:t>
            </a:r>
            <a:br>
              <a:rPr lang="ru-RU" dirty="0"/>
            </a:br>
            <a:r>
              <a:rPr lang="ru-RU" dirty="0"/>
              <a:t>ОСНОВНОГО ОБЩЕГО ОБРАЗОВАНИЯ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562" y="1290327"/>
            <a:ext cx="9993734" cy="504499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6" name="Группа 31"/>
          <p:cNvGrpSpPr/>
          <p:nvPr/>
        </p:nvGrpSpPr>
        <p:grpSpPr>
          <a:xfrm>
            <a:off x="10717183" y="96046"/>
            <a:ext cx="672816" cy="817645"/>
            <a:chOff x="684213" y="839788"/>
            <a:chExt cx="1165225" cy="1416049"/>
          </a:xfrm>
        </p:grpSpPr>
        <p:sp>
          <p:nvSpPr>
            <p:cNvPr id="7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1" name="Picture 4506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707597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/>
              <a:t>ПРИМЕРНАЯ ОСНОВНАЯ ОБРАЗОВАТЕЛЬНАЯ ПРОГРАММА </a:t>
            </a:r>
            <a:br>
              <a:rPr lang="ru-RU" dirty="0"/>
            </a:br>
            <a:r>
              <a:rPr lang="ru-RU" dirty="0"/>
              <a:t>ОСНОВНОГО ОБЩЕГО ОБРАЗОВАНИЯ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562" y="1233885"/>
            <a:ext cx="9993733" cy="48245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0" name="Группа 31"/>
          <p:cNvGrpSpPr/>
          <p:nvPr/>
        </p:nvGrpSpPr>
        <p:grpSpPr>
          <a:xfrm>
            <a:off x="10717183" y="96046"/>
            <a:ext cx="672816" cy="817645"/>
            <a:chOff x="684213" y="839788"/>
            <a:chExt cx="1165225" cy="1416049"/>
          </a:xfrm>
        </p:grpSpPr>
        <p:sp>
          <p:nvSpPr>
            <p:cNvPr id="11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5" name="Picture 4506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816597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/>
            <a:r>
              <a:rPr lang="ru-RU" dirty="0"/>
              <a:t>ПРИМЕРНАЯ ОСНОВНАЯ ОБРАЗОВАТЕЛЬНАЯ ПРОГРАММА </a:t>
            </a:r>
            <a:br>
              <a:rPr lang="ru-RU" dirty="0"/>
            </a:br>
            <a:r>
              <a:rPr lang="ru-RU" dirty="0"/>
              <a:t>ОСНОВНОГО ОБЩЕГО ОБРАЗОВАНИЯ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562" y="2042251"/>
            <a:ext cx="9993733" cy="25705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7" name="Группа 31"/>
          <p:cNvGrpSpPr/>
          <p:nvPr/>
        </p:nvGrpSpPr>
        <p:grpSpPr>
          <a:xfrm>
            <a:off x="10717183" y="96046"/>
            <a:ext cx="672816" cy="817645"/>
            <a:chOff x="684213" y="839788"/>
            <a:chExt cx="1165225" cy="1416049"/>
          </a:xfrm>
        </p:grpSpPr>
        <p:sp>
          <p:nvSpPr>
            <p:cNvPr id="8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2" name="Picture 4506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028174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754487" y="1123721"/>
            <a:ext cx="10683026" cy="809685"/>
          </a:xfrm>
          <a:prstGeom prst="roundRect">
            <a:avLst>
              <a:gd name="adj" fmla="val 18627"/>
            </a:avLst>
          </a:prstGeom>
          <a:solidFill>
            <a:schemeClr val="accent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kern="1200" dirty="0">
                <a:solidFill>
                  <a:schemeClr val="bg1"/>
                </a:solidFill>
                <a:latin typeface="+mj-lt"/>
              </a:rPr>
              <a:t>ПРИМЕРНАЯ ОСНОВНАЯ ОБРАЗОВАТЕЛЬНАЯ ПРОГРАММА (ПООП)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606118" y="2820318"/>
            <a:ext cx="5052273" cy="2524788"/>
          </a:xfrm>
          <a:prstGeom prst="roundRect">
            <a:avLst>
              <a:gd name="adj" fmla="val 8082"/>
            </a:avLst>
          </a:prstGeom>
          <a:solidFill>
            <a:srgbClr val="31859C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b="1" kern="1200" dirty="0" smtClean="0">
                <a:solidFill>
                  <a:schemeClr val="bg1"/>
                </a:solidFill>
                <a:latin typeface="+mj-lt"/>
              </a:rPr>
              <a:t>Рабочие </a:t>
            </a:r>
            <a:r>
              <a:rPr lang="ru-RU" sz="2800" b="1" kern="1200" dirty="0">
                <a:solidFill>
                  <a:schemeClr val="bg1"/>
                </a:solidFill>
                <a:latin typeface="+mj-lt"/>
              </a:rPr>
              <a:t>программы учебных </a:t>
            </a:r>
            <a:r>
              <a:rPr lang="ru-RU" sz="2800" b="1" kern="1200" dirty="0" smtClean="0">
                <a:solidFill>
                  <a:schemeClr val="bg1"/>
                </a:solidFill>
                <a:latin typeface="+mj-lt"/>
              </a:rPr>
              <a:t>предметов</a:t>
            </a:r>
          </a:p>
          <a:p>
            <a:endParaRPr lang="ru-RU" sz="2800" b="1" kern="1200" dirty="0">
              <a:solidFill>
                <a:schemeClr val="bg1"/>
              </a:solidFill>
              <a:latin typeface="+mj-lt"/>
            </a:endParaRPr>
          </a:p>
          <a:p>
            <a:r>
              <a:rPr lang="ru-RU" sz="2000" b="1" kern="1200" dirty="0" smtClean="0">
                <a:solidFill>
                  <a:schemeClr val="bg1"/>
                </a:solidFill>
                <a:latin typeface="+mj-lt"/>
              </a:rPr>
              <a:t>входят </a:t>
            </a:r>
            <a:r>
              <a:rPr lang="ru-RU" sz="2000" b="1" kern="1200" dirty="0">
                <a:solidFill>
                  <a:schemeClr val="bg1"/>
                </a:solidFill>
                <a:latin typeface="+mj-lt"/>
              </a:rPr>
              <a:t>в состав </a:t>
            </a:r>
            <a:r>
              <a:rPr lang="ru-RU" sz="2000" b="1" kern="1200" dirty="0" smtClean="0">
                <a:solidFill>
                  <a:schemeClr val="bg1"/>
                </a:solidFill>
                <a:latin typeface="+mj-lt"/>
              </a:rPr>
              <a:t>образовательной </a:t>
            </a:r>
            <a:r>
              <a:rPr lang="ru-RU" sz="2000" b="1" kern="1200" dirty="0">
                <a:solidFill>
                  <a:schemeClr val="bg1"/>
                </a:solidFill>
                <a:latin typeface="+mj-lt"/>
              </a:rPr>
              <a:t>программы образовательной </a:t>
            </a:r>
            <a:r>
              <a:rPr lang="ru-RU" sz="2000" b="1" kern="1200" dirty="0" smtClean="0">
                <a:solidFill>
                  <a:schemeClr val="bg1"/>
                </a:solidFill>
                <a:latin typeface="+mj-lt"/>
              </a:rPr>
              <a:t>организации (далее – ОП ОО)</a:t>
            </a:r>
          </a:p>
          <a:p>
            <a:endParaRPr lang="ru-RU" sz="2800" b="1" kern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Стрелка вниз 7"/>
          <p:cNvSpPr/>
          <p:nvPr/>
        </p:nvSpPr>
        <p:spPr>
          <a:xfrm rot="1200000">
            <a:off x="2484182" y="2175909"/>
            <a:ext cx="1296144" cy="504056"/>
          </a:xfrm>
          <a:prstGeom prst="down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трелка вниз 5"/>
          <p:cNvSpPr/>
          <p:nvPr/>
        </p:nvSpPr>
        <p:spPr>
          <a:xfrm rot="-1200000">
            <a:off x="8551079" y="2175909"/>
            <a:ext cx="1296144" cy="504056"/>
          </a:xfrm>
          <a:prstGeom prst="down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6673015" y="2820318"/>
            <a:ext cx="5052273" cy="2524787"/>
          </a:xfrm>
          <a:prstGeom prst="roundRect">
            <a:avLst>
              <a:gd name="adj" fmla="val 8082"/>
            </a:avLst>
          </a:prstGeom>
          <a:solidFill>
            <a:schemeClr val="accent6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dirty="0"/>
              <a:t>Авторские программы учебных </a:t>
            </a:r>
            <a:r>
              <a:rPr lang="ru-RU" sz="2800" dirty="0" smtClean="0"/>
              <a:t>предметов</a:t>
            </a:r>
          </a:p>
          <a:p>
            <a:endParaRPr lang="ru-RU" sz="3200" dirty="0" smtClean="0"/>
          </a:p>
          <a:p>
            <a:pPr algn="ctr"/>
            <a:endParaRPr lang="ru-RU" sz="3200" dirty="0"/>
          </a:p>
          <a:p>
            <a:pPr algn="ctr"/>
            <a:endParaRPr lang="ru-RU" sz="3200" dirty="0"/>
          </a:p>
        </p:txBody>
      </p:sp>
      <p:pic>
        <p:nvPicPr>
          <p:cNvPr id="1026" name="Picture 2" descr="http://technology.prosv.ru/_data/umk/3/rabochie_programmy_5-9kl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00478" y="3916281"/>
            <a:ext cx="997345" cy="1326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Группа 31"/>
          <p:cNvGrpSpPr/>
          <p:nvPr/>
        </p:nvGrpSpPr>
        <p:grpSpPr>
          <a:xfrm>
            <a:off x="10717183" y="96046"/>
            <a:ext cx="672816" cy="817645"/>
            <a:chOff x="684213" y="839788"/>
            <a:chExt cx="1165225" cy="1416049"/>
          </a:xfrm>
        </p:grpSpPr>
        <p:sp>
          <p:nvSpPr>
            <p:cNvPr id="12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6" name="Picture 4506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7" name="Заголовок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РНАЯ ОСНОВНАЯ ОБРАЗОВАТЕЛЬНАЯ ПРОГРАММА </a:t>
            </a:r>
            <a:br>
              <a:rPr lang="ru-RU" dirty="0"/>
            </a:br>
            <a:r>
              <a:rPr lang="ru-RU" dirty="0"/>
              <a:t>ОСНОВНОГО ОБЩЕГО ОБРАЗОВАНИЯ</a:t>
            </a:r>
          </a:p>
        </p:txBody>
      </p:sp>
    </p:spTree>
    <p:extLst>
      <p:ext uri="{BB962C8B-B14F-4D97-AF65-F5344CB8AC3E}">
        <p14:creationId xmlns:p14="http://schemas.microsoft.com/office/powerpoint/2010/main" val="1119560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ru-RU" dirty="0" smtClean="0"/>
              <a:t>ЧТО ТАКОЕ  РАБОЧАЯ ПРОГРАММА?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202076"/>
            <a:ext cx="10515600" cy="5064697"/>
          </a:xfrm>
        </p:spPr>
        <p:txBody>
          <a:bodyPr/>
          <a:lstStyle/>
          <a:p>
            <a:pPr algn="just"/>
            <a:r>
              <a:rPr lang="ru-RU" dirty="0" smtClean="0"/>
              <a:t>Рабочая программа – это нормативно-управленческий документ образовательной организации, характеризующий систему организации образовательной деятельности</a:t>
            </a:r>
          </a:p>
          <a:p>
            <a:pPr algn="just"/>
            <a:endParaRPr lang="ru-RU" dirty="0"/>
          </a:p>
          <a:p>
            <a:pPr algn="just"/>
            <a:r>
              <a:rPr lang="ru-RU" dirty="0" smtClean="0"/>
              <a:t>Рабочая программа – это учебная программа, </a:t>
            </a:r>
            <a:r>
              <a:rPr lang="ru-RU" b="1" dirty="0" smtClean="0"/>
              <a:t>разработанная педагогом на основе Примерной основной образовательной программы </a:t>
            </a:r>
            <a:r>
              <a:rPr lang="ru-RU" dirty="0" smtClean="0"/>
              <a:t>для конкретной образовательной организации и определённого класса, </a:t>
            </a:r>
            <a:r>
              <a:rPr lang="ru-RU" dirty="0" smtClean="0">
                <a:solidFill>
                  <a:srgbClr val="E22A8B"/>
                </a:solidFill>
              </a:rPr>
              <a:t>имеющая изменения и дополнения в содержании, последовательности изучения тем, количестве часов</a:t>
            </a:r>
            <a:r>
              <a:rPr lang="ru-RU" dirty="0" smtClean="0"/>
              <a:t>, использовании организационных форм обучения и т.п.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9091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06316" y="96253"/>
            <a:ext cx="9111916" cy="806115"/>
          </a:xfrm>
        </p:spPr>
        <p:txBody>
          <a:bodyPr>
            <a:normAutofit fontScale="90000"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tabLst>
                <a:tab pos="5442585" algn="l"/>
              </a:tabLst>
            </a:pPr>
            <a:r>
              <a:rPr lang="ru-RU" dirty="0"/>
              <a:t>ПИСЬМО МИНИСТЕРСТВА ОБРАЗОВАНИЯ И НАУКИ РФ</a:t>
            </a:r>
            <a:br>
              <a:rPr lang="ru-RU" dirty="0"/>
            </a:br>
            <a:r>
              <a:rPr lang="ru-RU" dirty="0"/>
              <a:t>«О РАБОЧИХ ПРОГРАММАХ УЧЕБНЫХ ПРЕДМЕТОВ» </a:t>
            </a:r>
            <a:r>
              <a:rPr lang="ru-RU" spc="-5" dirty="0"/>
              <a:t>ОТ</a:t>
            </a:r>
            <a:r>
              <a:rPr lang="ru-RU" spc="-100" dirty="0"/>
              <a:t> </a:t>
            </a:r>
            <a:r>
              <a:rPr lang="ru-RU" spc="-5" dirty="0"/>
              <a:t>28.10.</a:t>
            </a:r>
            <a:r>
              <a:rPr lang="ru-RU" spc="-20" dirty="0"/>
              <a:t>2015 Г. №</a:t>
            </a:r>
            <a:r>
              <a:rPr lang="en-US" spc="-20" dirty="0"/>
              <a:t> </a:t>
            </a:r>
            <a:r>
              <a:rPr lang="en-US" spc="-10" dirty="0"/>
              <a:t>08-1786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940968" y="1005840"/>
            <a:ext cx="6412832" cy="5260933"/>
          </a:xfrm>
        </p:spPr>
        <p:txBody>
          <a:bodyPr>
            <a:normAutofit lnSpcReduction="10000"/>
          </a:bodyPr>
          <a:lstStyle/>
          <a:p>
            <a:pPr algn="just"/>
            <a:r>
              <a:rPr lang="ru-RU" dirty="0" smtClean="0"/>
              <a:t>В соответствии с ФГОС рабочие программы учебных предметов, курсов </a:t>
            </a:r>
            <a:r>
              <a:rPr lang="ru-RU" dirty="0" smtClean="0">
                <a:solidFill>
                  <a:srgbClr val="E22A8B"/>
                </a:solidFill>
              </a:rPr>
              <a:t>являются обязательным компонентом </a:t>
            </a:r>
            <a:r>
              <a:rPr lang="ru-RU" dirty="0" smtClean="0"/>
              <a:t>содержательного раздела основной образовательной программы образовательной организации.</a:t>
            </a:r>
          </a:p>
          <a:p>
            <a:pPr algn="just"/>
            <a:endParaRPr lang="ru-RU" dirty="0" smtClean="0"/>
          </a:p>
          <a:p>
            <a:pPr algn="just"/>
            <a:r>
              <a:rPr lang="ru-RU" dirty="0"/>
              <a:t>Рабочие </a:t>
            </a:r>
            <a:r>
              <a:rPr lang="ru-RU" dirty="0" smtClean="0"/>
              <a:t>программы разрабатываются </a:t>
            </a:r>
            <a:r>
              <a:rPr lang="ru-RU" dirty="0">
                <a:solidFill>
                  <a:srgbClr val="E22A8B"/>
                </a:solidFill>
              </a:rPr>
              <a:t>на основе  требований к результатам освоения основной образовательной  </a:t>
            </a:r>
            <a:r>
              <a:rPr lang="ru-RU" dirty="0" smtClean="0">
                <a:solidFill>
                  <a:srgbClr val="E22A8B"/>
                </a:solidFill>
              </a:rPr>
              <a:t>программы </a:t>
            </a:r>
            <a:r>
              <a:rPr lang="ru-RU" dirty="0" smtClean="0"/>
              <a:t>и </a:t>
            </a:r>
            <a:r>
              <a:rPr lang="ru-RU" dirty="0"/>
              <a:t>должны обеспечивать достижение планируемых  результатов освоения основной образовательной программы</a:t>
            </a:r>
            <a:r>
              <a:rPr lang="ru-RU" dirty="0" smtClean="0"/>
              <a:t>.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1005840"/>
            <a:ext cx="3945700" cy="5260933"/>
          </a:xfrm>
          <a:prstGeom prst="rect">
            <a:avLst/>
          </a:prstGeom>
        </p:spPr>
      </p:pic>
      <p:grpSp>
        <p:nvGrpSpPr>
          <p:cNvPr id="5" name="Группа 31"/>
          <p:cNvGrpSpPr/>
          <p:nvPr/>
        </p:nvGrpSpPr>
        <p:grpSpPr>
          <a:xfrm>
            <a:off x="728030" y="898654"/>
            <a:ext cx="672816" cy="817645"/>
            <a:chOff x="684213" y="839788"/>
            <a:chExt cx="1165225" cy="1416049"/>
          </a:xfrm>
        </p:grpSpPr>
        <p:sp>
          <p:nvSpPr>
            <p:cNvPr id="6" name="Freeform 4502"/>
            <p:cNvSpPr>
              <a:spLocks/>
            </p:cNvSpPr>
            <p:nvPr/>
          </p:nvSpPr>
          <p:spPr bwMode="auto">
            <a:xfrm>
              <a:off x="874713" y="839788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8FD6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7" name="Freeform 4503"/>
            <p:cNvSpPr>
              <a:spLocks/>
            </p:cNvSpPr>
            <p:nvPr/>
          </p:nvSpPr>
          <p:spPr bwMode="auto">
            <a:xfrm>
              <a:off x="1658938" y="839788"/>
              <a:ext cx="190500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B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8" name="Freeform 4504"/>
            <p:cNvSpPr>
              <a:spLocks/>
            </p:cNvSpPr>
            <p:nvPr/>
          </p:nvSpPr>
          <p:spPr bwMode="auto">
            <a:xfrm>
              <a:off x="684213" y="1031875"/>
              <a:ext cx="974725" cy="1223962"/>
            </a:xfrm>
            <a:custGeom>
              <a:avLst/>
              <a:gdLst/>
              <a:ahLst/>
              <a:cxnLst>
                <a:cxn ang="0">
                  <a:pos x="0" y="4605"/>
                </a:cxn>
                <a:cxn ang="0">
                  <a:pos x="3689" y="4605"/>
                </a:cxn>
                <a:cxn ang="0">
                  <a:pos x="3689" y="724"/>
                </a:cxn>
                <a:cxn ang="0">
                  <a:pos x="2965" y="0"/>
                </a:cxn>
                <a:cxn ang="0">
                  <a:pos x="0" y="0"/>
                </a:cxn>
                <a:cxn ang="0">
                  <a:pos x="0" y="4605"/>
                </a:cxn>
              </a:cxnLst>
              <a:rect l="0" t="0" r="r" b="b"/>
              <a:pathLst>
                <a:path w="3689" h="4605">
                  <a:moveTo>
                    <a:pt x="0" y="4605"/>
                  </a:moveTo>
                  <a:lnTo>
                    <a:pt x="3689" y="4605"/>
                  </a:lnTo>
                  <a:lnTo>
                    <a:pt x="3689" y="724"/>
                  </a:lnTo>
                  <a:lnTo>
                    <a:pt x="2965" y="0"/>
                  </a:lnTo>
                  <a:lnTo>
                    <a:pt x="0" y="0"/>
                  </a:lnTo>
                  <a:lnTo>
                    <a:pt x="0" y="4605"/>
                  </a:lnTo>
                  <a:close/>
                </a:path>
              </a:pathLst>
            </a:custGeom>
            <a:solidFill>
              <a:srgbClr val="F2F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" name="Freeform 4505"/>
            <p:cNvSpPr>
              <a:spLocks/>
            </p:cNvSpPr>
            <p:nvPr/>
          </p:nvSpPr>
          <p:spPr bwMode="auto">
            <a:xfrm>
              <a:off x="1466851" y="1031875"/>
              <a:ext cx="192088" cy="19208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724"/>
                </a:cxn>
                <a:cxn ang="0">
                  <a:pos x="724" y="724"/>
                </a:cxn>
                <a:cxn ang="0">
                  <a:pos x="0" y="0"/>
                </a:cxn>
              </a:cxnLst>
              <a:rect l="0" t="0" r="r" b="b"/>
              <a:pathLst>
                <a:path w="724" h="724">
                  <a:moveTo>
                    <a:pt x="0" y="0"/>
                  </a:moveTo>
                  <a:lnTo>
                    <a:pt x="0" y="724"/>
                  </a:lnTo>
                  <a:lnTo>
                    <a:pt x="724" y="7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E3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pic>
          <p:nvPicPr>
            <p:cNvPr id="10" name="Picture 4506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7413" y="1333500"/>
              <a:ext cx="563563" cy="622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855901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00300" y="96046"/>
            <a:ext cx="9117030" cy="817645"/>
          </a:xfrm>
        </p:spPr>
        <p:txBody>
          <a:bodyPr>
            <a:normAutofit fontScale="90000"/>
          </a:bodyPr>
          <a:lstStyle/>
          <a:p>
            <a:r>
              <a:rPr lang="ru-RU" dirty="0"/>
              <a:t>ПИСЬМО МИНИСТЕРСТВА ОБРАЗОВАНИЯ И НАУКИ РФ</a:t>
            </a:r>
            <a:br>
              <a:rPr lang="ru-RU" dirty="0"/>
            </a:br>
            <a:r>
              <a:rPr lang="ru-RU" dirty="0"/>
              <a:t>«О РАБОЧИХ ПРОГРАММАХ УЧЕБНЫХ ПРЕДМЕТОВ» </a:t>
            </a:r>
            <a:r>
              <a:rPr lang="ru-RU" spc="-5" dirty="0"/>
              <a:t>ОТ</a:t>
            </a:r>
            <a:r>
              <a:rPr lang="ru-RU" spc="-100" dirty="0"/>
              <a:t> </a:t>
            </a:r>
            <a:r>
              <a:rPr lang="ru-RU" spc="-5" dirty="0"/>
              <a:t>28.10.</a:t>
            </a:r>
            <a:r>
              <a:rPr lang="ru-RU" spc="-20" dirty="0"/>
              <a:t>2015 Г. №</a:t>
            </a:r>
            <a:r>
              <a:rPr lang="en-US" spc="-20" dirty="0"/>
              <a:t> </a:t>
            </a:r>
            <a:r>
              <a:rPr lang="en-US" spc="-10" dirty="0"/>
              <a:t>08-1786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297455" y="1005840"/>
            <a:ext cx="5299114" cy="823912"/>
          </a:xfrm>
        </p:spPr>
        <p:txBody>
          <a:bodyPr>
            <a:normAutofit/>
          </a:bodyPr>
          <a:lstStyle/>
          <a:p>
            <a:pPr marL="12065" marR="5080" algn="ctr">
              <a:lnSpc>
                <a:spcPct val="100000"/>
              </a:lnSpc>
              <a:spcBef>
                <a:spcPts val="105"/>
              </a:spcBef>
              <a:tabLst>
                <a:tab pos="2023745" algn="l"/>
              </a:tabLst>
            </a:pPr>
            <a:r>
              <a:rPr lang="ru-RU" spc="-10" dirty="0" smtClean="0"/>
              <a:t>В соответствии с ФГОС </a:t>
            </a:r>
            <a:r>
              <a:rPr lang="ru-RU" dirty="0" smtClean="0"/>
              <a:t>рабочая </a:t>
            </a:r>
            <a:r>
              <a:rPr lang="ru-RU" spc="-5" dirty="0" smtClean="0"/>
              <a:t>программа должна содержать</a:t>
            </a:r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half" idx="2"/>
          </p:nvPr>
        </p:nvSpPr>
        <p:spPr>
          <a:xfrm>
            <a:off x="297455" y="1829751"/>
            <a:ext cx="5299114" cy="4447223"/>
          </a:xfrm>
        </p:spPr>
        <p:txBody>
          <a:bodyPr>
            <a:noAutofit/>
          </a:bodyPr>
          <a:lstStyle/>
          <a:p>
            <a:pPr marL="457200" indent="-457200" algn="just">
              <a:buFont typeface="+mj-lt"/>
              <a:buAutoNum type="arabicPeriod"/>
            </a:pPr>
            <a:r>
              <a:rPr lang="ru-RU" sz="2000" dirty="0"/>
              <a:t>пояснительную </a:t>
            </a:r>
            <a:r>
              <a:rPr lang="ru-RU" sz="2000" dirty="0" smtClean="0"/>
              <a:t>записку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 smtClean="0"/>
              <a:t>общую </a:t>
            </a:r>
            <a:r>
              <a:rPr lang="ru-RU" sz="2000" dirty="0"/>
              <a:t>характеристику учебного </a:t>
            </a:r>
            <a:r>
              <a:rPr lang="ru-RU" sz="2000" dirty="0" smtClean="0"/>
              <a:t>предмета;</a:t>
            </a:r>
            <a:endParaRPr lang="ru-RU" sz="2000" dirty="0"/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/>
              <a:t>описание места учебного </a:t>
            </a:r>
            <a:r>
              <a:rPr lang="ru-RU" sz="2000" dirty="0" smtClean="0"/>
              <a:t>предмета в </a:t>
            </a:r>
            <a:r>
              <a:rPr lang="ru-RU" sz="2000" dirty="0"/>
              <a:t>учебном </a:t>
            </a:r>
            <a:r>
              <a:rPr lang="ru-RU" sz="2000" dirty="0" smtClean="0"/>
              <a:t>плане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 smtClean="0"/>
              <a:t>личностные</a:t>
            </a:r>
            <a:r>
              <a:rPr lang="ru-RU" sz="2000" dirty="0"/>
              <a:t>, метапредметные и предметные </a:t>
            </a:r>
            <a:r>
              <a:rPr lang="ru-RU" sz="2000" dirty="0" smtClean="0"/>
              <a:t>результаты освоения </a:t>
            </a:r>
            <a:r>
              <a:rPr lang="ru-RU" sz="2000" dirty="0"/>
              <a:t>конкретного учебного </a:t>
            </a:r>
            <a:r>
              <a:rPr lang="ru-RU" sz="2000" dirty="0" smtClean="0"/>
              <a:t>предмета;</a:t>
            </a:r>
            <a:endParaRPr lang="ru-RU" sz="2000" dirty="0"/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/>
              <a:t>содержание учебного </a:t>
            </a:r>
            <a:r>
              <a:rPr lang="ru-RU" sz="2000" dirty="0" smtClean="0"/>
              <a:t>предмета</a:t>
            </a:r>
            <a:endParaRPr lang="ru-RU" sz="2000" dirty="0"/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/>
              <a:t>тематическое </a:t>
            </a:r>
            <a:r>
              <a:rPr lang="ru-RU" sz="2000" dirty="0" smtClean="0"/>
              <a:t>планирование</a:t>
            </a:r>
            <a:endParaRPr lang="ru-RU" sz="2000" dirty="0"/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/>
              <a:t>описание учебно-методического и </a:t>
            </a:r>
            <a:r>
              <a:rPr lang="ru-RU" sz="2000" dirty="0" smtClean="0"/>
              <a:t>материально-технического обеспечения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 smtClean="0"/>
              <a:t>планируемые </a:t>
            </a:r>
            <a:r>
              <a:rPr lang="ru-RU" sz="2000" dirty="0"/>
              <a:t>результаты изучения учебного </a:t>
            </a:r>
            <a:r>
              <a:rPr lang="ru-RU" sz="2000" dirty="0" smtClean="0"/>
              <a:t>предмета</a:t>
            </a:r>
            <a:endParaRPr lang="ru-RU" sz="2000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3"/>
          </p:nvPr>
        </p:nvSpPr>
        <p:spPr>
          <a:xfrm>
            <a:off x="6566052" y="1005840"/>
            <a:ext cx="5420300" cy="823912"/>
          </a:xfrm>
        </p:spPr>
        <p:txBody>
          <a:bodyPr>
            <a:normAutofit fontScale="92500" lnSpcReduction="20000"/>
          </a:bodyPr>
          <a:lstStyle/>
          <a:p>
            <a:pPr algn="ctr"/>
            <a:r>
              <a:rPr lang="ru-RU" dirty="0" smtClean="0"/>
              <a:t>В соответствии с письмом Минобрнауки России рабочая программа должна содержать</a:t>
            </a:r>
            <a:endParaRPr lang="ru-RU" dirty="0"/>
          </a:p>
        </p:txBody>
      </p:sp>
      <p:sp>
        <p:nvSpPr>
          <p:cNvPr id="8" name="Объект 7"/>
          <p:cNvSpPr>
            <a:spLocks noGrp="1"/>
          </p:cNvSpPr>
          <p:nvPr>
            <p:ph sz="quarter" idx="4"/>
          </p:nvPr>
        </p:nvSpPr>
        <p:spPr>
          <a:xfrm>
            <a:off x="6566053" y="1829751"/>
            <a:ext cx="5420299" cy="4447223"/>
          </a:xfrm>
        </p:spPr>
        <p:txBody>
          <a:bodyPr>
            <a:noAutofit/>
          </a:bodyPr>
          <a:lstStyle/>
          <a:p>
            <a:pPr marL="457200" indent="-457200" algn="just">
              <a:buFont typeface="+mj-lt"/>
              <a:buAutoNum type="arabicPeriod"/>
            </a:pPr>
            <a:r>
              <a:rPr lang="ru-RU" sz="2000" dirty="0">
                <a:solidFill>
                  <a:schemeClr val="bg1"/>
                </a:solidFill>
              </a:rPr>
              <a:t>пояснительную записку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>
                <a:solidFill>
                  <a:schemeClr val="bg1"/>
                </a:solidFill>
              </a:rPr>
              <a:t>общую характеристику учебного предмета;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>
                <a:solidFill>
                  <a:schemeClr val="bg1"/>
                </a:solidFill>
              </a:rPr>
              <a:t>описание места учебного предмета в учебном плане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 smtClean="0"/>
              <a:t>Планируемые </a:t>
            </a:r>
            <a:r>
              <a:rPr lang="ru-RU" sz="2000" dirty="0"/>
              <a:t>результаты освоения учебного предмета «Технология</a:t>
            </a:r>
            <a:r>
              <a:rPr lang="ru-RU" sz="2000" dirty="0" smtClean="0"/>
              <a:t>» </a:t>
            </a:r>
            <a:r>
              <a:rPr lang="ru-RU" sz="2000" dirty="0" smtClean="0">
                <a:solidFill>
                  <a:schemeClr val="bg1"/>
                </a:solidFill>
              </a:rPr>
              <a:t>………………. РРРРРРРРР,</a:t>
            </a:r>
            <a:endParaRPr lang="ru-RU" sz="2000" dirty="0">
              <a:solidFill>
                <a:schemeClr val="bg1"/>
              </a:solidFill>
            </a:endParaRP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 smtClean="0"/>
              <a:t>Содержание учебной программы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 smtClean="0"/>
              <a:t>Календарно-тематическое планирование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ru-RU" sz="2000" dirty="0">
                <a:solidFill>
                  <a:schemeClr val="bg1"/>
                </a:solidFill>
              </a:rPr>
              <a:t>описание учебно-методического и </a:t>
            </a:r>
            <a:r>
              <a:rPr lang="ru-RU" sz="2000" dirty="0" smtClean="0">
                <a:solidFill>
                  <a:schemeClr val="bg1"/>
                </a:solidFill>
              </a:rPr>
              <a:t>материально-технического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9" name="Стрелка вниз 8"/>
          <p:cNvSpPr/>
          <p:nvPr/>
        </p:nvSpPr>
        <p:spPr>
          <a:xfrm rot="16200000">
            <a:off x="5815755" y="3934173"/>
            <a:ext cx="531112" cy="969483"/>
          </a:xfrm>
          <a:prstGeom prst="down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трелка вниз 9"/>
          <p:cNvSpPr/>
          <p:nvPr/>
        </p:nvSpPr>
        <p:spPr>
          <a:xfrm rot="16200000">
            <a:off x="5815755" y="4352172"/>
            <a:ext cx="531112" cy="969483"/>
          </a:xfrm>
          <a:prstGeom prst="down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трелка вниз 10"/>
          <p:cNvSpPr/>
          <p:nvPr/>
        </p:nvSpPr>
        <p:spPr>
          <a:xfrm rot="16200000">
            <a:off x="5815755" y="3158278"/>
            <a:ext cx="531112" cy="969483"/>
          </a:xfrm>
          <a:prstGeom prst="down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4366" y="2700118"/>
            <a:ext cx="1853942" cy="52528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6323" y="2032699"/>
            <a:ext cx="6050029" cy="667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805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406316" y="96253"/>
            <a:ext cx="9090466" cy="806115"/>
          </a:xfrm>
        </p:spPr>
        <p:txBody>
          <a:bodyPr>
            <a:normAutofit fontScale="90000"/>
          </a:bodyPr>
          <a:lstStyle/>
          <a:p>
            <a:pPr algn="l"/>
            <a:r>
              <a:rPr lang="ru-RU" dirty="0" smtClean="0"/>
              <a:t>ПИСЬМО МИНИСТЕРСТВА ОБРАЗОВАНИЯ И НАУКИ РФ</a:t>
            </a:r>
            <a:br>
              <a:rPr lang="ru-RU" dirty="0" smtClean="0"/>
            </a:br>
            <a:r>
              <a:rPr lang="ru-RU" dirty="0" smtClean="0"/>
              <a:t>«О РАБОЧИХ ПРОГРАММАХ УЧЕБНЫХ ПРЕДМЕТОВ» ОТ 28.10.2015 Г. №</a:t>
            </a:r>
            <a:r>
              <a:rPr lang="en-US" dirty="0" smtClean="0"/>
              <a:t> 08-1786</a:t>
            </a:r>
            <a:endParaRPr lang="ru-RU" dirty="0"/>
          </a:p>
        </p:txBody>
      </p:sp>
      <p:sp>
        <p:nvSpPr>
          <p:cNvPr id="8" name="Объект 7"/>
          <p:cNvSpPr>
            <a:spLocks noGrp="1"/>
          </p:cNvSpPr>
          <p:nvPr>
            <p:ph idx="1"/>
          </p:nvPr>
        </p:nvSpPr>
        <p:spPr>
          <a:xfrm>
            <a:off x="838201" y="1005840"/>
            <a:ext cx="5840002" cy="5260933"/>
          </a:xfrm>
        </p:spPr>
        <p:txBody>
          <a:bodyPr/>
          <a:lstStyle/>
          <a:p>
            <a:pPr algn="just"/>
            <a:r>
              <a:rPr lang="ru-RU" dirty="0" smtClean="0"/>
              <a:t>Авторские программы учебных предметов,  разработанные в соответствии  с требованиями  ФГОС и с учётом ПООП, также </a:t>
            </a:r>
            <a:r>
              <a:rPr lang="ru-RU" dirty="0" smtClean="0">
                <a:solidFill>
                  <a:srgbClr val="E22A8B"/>
                </a:solidFill>
              </a:rPr>
              <a:t>могут рассматриваться  как рабочие программы учебных предметов</a:t>
            </a:r>
            <a:r>
              <a:rPr lang="ru-RU" dirty="0">
                <a:solidFill>
                  <a:srgbClr val="E22A8B"/>
                </a:solidFill>
              </a:rPr>
              <a:t>.</a:t>
            </a:r>
            <a:endParaRPr lang="ru-RU" dirty="0" smtClean="0">
              <a:solidFill>
                <a:srgbClr val="E22A8B"/>
              </a:solidFill>
            </a:endParaRPr>
          </a:p>
          <a:p>
            <a:pPr algn="just"/>
            <a:endParaRPr lang="ru-RU" dirty="0" smtClean="0"/>
          </a:p>
          <a:p>
            <a:pPr algn="just"/>
            <a:r>
              <a:rPr lang="ru-RU" dirty="0" smtClean="0"/>
              <a:t>Решение о возможности их использования в  структуре основной образовательной программы  </a:t>
            </a:r>
            <a:r>
              <a:rPr lang="ru-RU" dirty="0" smtClean="0">
                <a:solidFill>
                  <a:srgbClr val="E22A8B"/>
                </a:solidFill>
              </a:rPr>
              <a:t>принимается на уровне образовательной  организации.</a:t>
            </a:r>
            <a:endParaRPr lang="ru-RU" dirty="0">
              <a:solidFill>
                <a:srgbClr val="E22A8B"/>
              </a:solidFill>
            </a:endParaRPr>
          </a:p>
        </p:txBody>
      </p:sp>
      <p:pic>
        <p:nvPicPr>
          <p:cNvPr id="10" name="Picture 2" descr="http://technology.prosv.ru/_data/umk/3/rabochie_programmy_5-9kl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97063" y="1005840"/>
            <a:ext cx="3956737" cy="5260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3862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Скругленный прямоугольник 21"/>
          <p:cNvSpPr/>
          <p:nvPr/>
        </p:nvSpPr>
        <p:spPr>
          <a:xfrm>
            <a:off x="749745" y="573189"/>
            <a:ext cx="10679723" cy="911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Рабочие программы (по учебным предметам)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3739272" y="1034612"/>
            <a:ext cx="2067269" cy="35038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+mj-lt"/>
              </a:rPr>
              <a:t>НОО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137181" y="1034612"/>
            <a:ext cx="2067269" cy="35038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+mj-lt"/>
              </a:rPr>
              <a:t>ДО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749745" y="4865624"/>
            <a:ext cx="10679723" cy="700785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Федеральный закон «Об образовании в Российской Федерации»</a:t>
            </a:r>
          </a:p>
          <a:p>
            <a:pPr algn="ctr"/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от 29 декабря 2012 г. № 273-ФЗ 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749745" y="2824514"/>
            <a:ext cx="10679723" cy="911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Федеральные государственные образовательные стандарты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749745" y="1698851"/>
            <a:ext cx="10679723" cy="911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200" b="1" dirty="0">
                <a:solidFill>
                  <a:srgbClr val="E22A8B"/>
                </a:solidFill>
              </a:rPr>
              <a:t>Примерные основные образовательные программы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749745" y="3950176"/>
            <a:ext cx="10679723" cy="700785"/>
          </a:xfrm>
          <a:prstGeom prst="roundRect">
            <a:avLst/>
          </a:prstGeom>
          <a:solidFill>
            <a:schemeClr val="bg1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200" b="1" dirty="0">
                <a:solidFill>
                  <a:srgbClr val="E22A8B"/>
                </a:solidFill>
              </a:rPr>
              <a:t>Концепция преподавания учебного предмета «Технология»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749745" y="5781071"/>
            <a:ext cx="10679723" cy="49059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Конституция Российской Федерации</a:t>
            </a:r>
          </a:p>
        </p:txBody>
      </p:sp>
      <p:sp>
        <p:nvSpPr>
          <p:cNvPr id="3" name="Стрелка вверх 2"/>
          <p:cNvSpPr/>
          <p:nvPr/>
        </p:nvSpPr>
        <p:spPr>
          <a:xfrm>
            <a:off x="5634056" y="3762855"/>
            <a:ext cx="911101" cy="175193"/>
          </a:xfrm>
          <a:prstGeom prst="up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50">
              <a:latin typeface="+mj-lt"/>
            </a:endParaRPr>
          </a:p>
        </p:txBody>
      </p:sp>
      <p:sp>
        <p:nvSpPr>
          <p:cNvPr id="4" name="Стрелка вверх 3"/>
          <p:cNvSpPr/>
          <p:nvPr/>
        </p:nvSpPr>
        <p:spPr>
          <a:xfrm>
            <a:off x="5634056" y="5588626"/>
            <a:ext cx="911101" cy="175193"/>
          </a:xfrm>
          <a:prstGeom prst="up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50">
              <a:latin typeface="+mj-lt"/>
            </a:endParaRPr>
          </a:p>
        </p:txBody>
      </p:sp>
      <p:sp>
        <p:nvSpPr>
          <p:cNvPr id="6" name="Стрелка вверх 5"/>
          <p:cNvSpPr/>
          <p:nvPr/>
        </p:nvSpPr>
        <p:spPr>
          <a:xfrm>
            <a:off x="5634056" y="4673178"/>
            <a:ext cx="911101" cy="175193"/>
          </a:xfrm>
          <a:prstGeom prst="up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50">
              <a:latin typeface="+mj-lt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137181" y="3292745"/>
            <a:ext cx="2067269" cy="350385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+mj-lt"/>
              </a:rPr>
              <a:t>ФГОС ДО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3739272" y="3292744"/>
            <a:ext cx="2067269" cy="350385"/>
          </a:xfrm>
          <a:prstGeom prst="roundRect">
            <a:avLst/>
          </a:prstGeom>
          <a:solidFill>
            <a:schemeClr val="accent6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+mj-lt"/>
              </a:rPr>
              <a:t>ФГОС НОО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341364" y="3292744"/>
            <a:ext cx="2067269" cy="350385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+mj-lt"/>
              </a:rPr>
              <a:t>ФГОС ООО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8943455" y="3292744"/>
            <a:ext cx="2067269" cy="350385"/>
          </a:xfrm>
          <a:prstGeom prst="roundRect">
            <a:avLst/>
          </a:prstGeom>
          <a:solidFill>
            <a:schemeClr val="accent4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+mj-lt"/>
              </a:rPr>
              <a:t>ФГОС СОО</a:t>
            </a:r>
          </a:p>
        </p:txBody>
      </p:sp>
      <p:sp>
        <p:nvSpPr>
          <p:cNvPr id="12" name="Стрелка вверх 11"/>
          <p:cNvSpPr/>
          <p:nvPr/>
        </p:nvSpPr>
        <p:spPr>
          <a:xfrm>
            <a:off x="1716574" y="2625715"/>
            <a:ext cx="911101" cy="175193"/>
          </a:xfrm>
          <a:prstGeom prst="up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50">
              <a:latin typeface="+mj-lt"/>
            </a:endParaRPr>
          </a:p>
        </p:txBody>
      </p:sp>
      <p:sp>
        <p:nvSpPr>
          <p:cNvPr id="13" name="Стрелка вверх 12"/>
          <p:cNvSpPr/>
          <p:nvPr/>
        </p:nvSpPr>
        <p:spPr>
          <a:xfrm>
            <a:off x="4318229" y="2625715"/>
            <a:ext cx="911101" cy="175193"/>
          </a:xfrm>
          <a:prstGeom prst="up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50">
              <a:latin typeface="+mj-lt"/>
            </a:endParaRPr>
          </a:p>
        </p:txBody>
      </p:sp>
      <p:sp>
        <p:nvSpPr>
          <p:cNvPr id="14" name="Стрелка вверх 13"/>
          <p:cNvSpPr/>
          <p:nvPr/>
        </p:nvSpPr>
        <p:spPr>
          <a:xfrm>
            <a:off x="6919884" y="2625715"/>
            <a:ext cx="911101" cy="175193"/>
          </a:xfrm>
          <a:prstGeom prst="up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50">
              <a:latin typeface="+mj-lt"/>
            </a:endParaRPr>
          </a:p>
        </p:txBody>
      </p:sp>
      <p:sp>
        <p:nvSpPr>
          <p:cNvPr id="15" name="Стрелка вверх 14"/>
          <p:cNvSpPr/>
          <p:nvPr/>
        </p:nvSpPr>
        <p:spPr>
          <a:xfrm>
            <a:off x="9521539" y="2625715"/>
            <a:ext cx="911101" cy="175193"/>
          </a:xfrm>
          <a:prstGeom prst="up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50">
              <a:latin typeface="+mj-lt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137181" y="2151908"/>
            <a:ext cx="2067269" cy="350385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+mj-lt"/>
              </a:rPr>
              <a:t>ПООП ДО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739272" y="2155040"/>
            <a:ext cx="2067269" cy="350385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+mj-lt"/>
              </a:rPr>
              <a:t>ПООП НОО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341364" y="2151908"/>
            <a:ext cx="2067269" cy="350385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+mj-lt"/>
              </a:rPr>
              <a:t>ПООП ООО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943455" y="2151908"/>
            <a:ext cx="2067269" cy="350385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+mj-lt"/>
              </a:rPr>
              <a:t>ПООП СОО</a:t>
            </a: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83482" y="2645035"/>
            <a:ext cx="527855" cy="486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Скругленный прямоугольник 24"/>
          <p:cNvSpPr/>
          <p:nvPr/>
        </p:nvSpPr>
        <p:spPr>
          <a:xfrm>
            <a:off x="6341364" y="1034612"/>
            <a:ext cx="2067269" cy="350385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+mj-lt"/>
              </a:rPr>
              <a:t>ООО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943455" y="1036833"/>
            <a:ext cx="2067269" cy="35038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latin typeface="+mj-lt"/>
              </a:rPr>
              <a:t>СОО</a:t>
            </a:r>
          </a:p>
        </p:txBody>
      </p:sp>
      <p:sp>
        <p:nvSpPr>
          <p:cNvPr id="27" name="Стрелка вверх 26"/>
          <p:cNvSpPr/>
          <p:nvPr/>
        </p:nvSpPr>
        <p:spPr>
          <a:xfrm>
            <a:off x="1716574" y="1521502"/>
            <a:ext cx="911101" cy="175193"/>
          </a:xfrm>
          <a:prstGeom prst="up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50">
              <a:latin typeface="+mj-lt"/>
            </a:endParaRPr>
          </a:p>
        </p:txBody>
      </p:sp>
      <p:sp>
        <p:nvSpPr>
          <p:cNvPr id="28" name="Стрелка вверх 27"/>
          <p:cNvSpPr/>
          <p:nvPr/>
        </p:nvSpPr>
        <p:spPr>
          <a:xfrm>
            <a:off x="4318229" y="1520094"/>
            <a:ext cx="911101" cy="175193"/>
          </a:xfrm>
          <a:prstGeom prst="up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50">
              <a:latin typeface="+mj-lt"/>
            </a:endParaRPr>
          </a:p>
        </p:txBody>
      </p:sp>
      <p:sp>
        <p:nvSpPr>
          <p:cNvPr id="29" name="Стрелка вверх 28"/>
          <p:cNvSpPr/>
          <p:nvPr/>
        </p:nvSpPr>
        <p:spPr>
          <a:xfrm>
            <a:off x="6919884" y="1520270"/>
            <a:ext cx="911101" cy="175193"/>
          </a:xfrm>
          <a:prstGeom prst="up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50">
              <a:latin typeface="+mj-lt"/>
            </a:endParaRPr>
          </a:p>
        </p:txBody>
      </p:sp>
      <p:sp>
        <p:nvSpPr>
          <p:cNvPr id="30" name="Стрелка вверх 29"/>
          <p:cNvSpPr/>
          <p:nvPr/>
        </p:nvSpPr>
        <p:spPr>
          <a:xfrm>
            <a:off x="9521539" y="1520094"/>
            <a:ext cx="911101" cy="175193"/>
          </a:xfrm>
          <a:prstGeom prst="upArrow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5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59886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 smtClean="0"/>
              <a:t>ЭТАПЫ СОСТАВЛЕНИЯ РАБОЧЕЙ ПРОГРАММЫ</a:t>
            </a:r>
            <a:endParaRPr lang="ru-RU" dirty="0"/>
          </a:p>
        </p:txBody>
      </p:sp>
      <p:sp>
        <p:nvSpPr>
          <p:cNvPr id="15" name="Объект 14"/>
          <p:cNvSpPr>
            <a:spLocks noGrp="1"/>
          </p:cNvSpPr>
          <p:nvPr>
            <p:ph idx="1"/>
          </p:nvPr>
        </p:nvSpPr>
        <p:spPr>
          <a:xfrm>
            <a:off x="478605" y="1458930"/>
            <a:ext cx="11449693" cy="480784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4000" dirty="0"/>
              <a:t>Шаг 1. </a:t>
            </a:r>
            <a:r>
              <a:rPr lang="ru-RU" sz="4000" dirty="0" smtClean="0"/>
              <a:t>Изучить нормативную базу</a:t>
            </a:r>
            <a:endParaRPr lang="ru-RU" sz="4000" dirty="0"/>
          </a:p>
          <a:p>
            <a:pPr marL="0" indent="0">
              <a:buNone/>
            </a:pPr>
            <a:r>
              <a:rPr lang="ru-RU" sz="4000" b="1" dirty="0"/>
              <a:t>Шаг 2. </a:t>
            </a:r>
            <a:r>
              <a:rPr lang="ru-RU" sz="4000" b="1" dirty="0" smtClean="0"/>
              <a:t>Выбрать программу </a:t>
            </a:r>
            <a:r>
              <a:rPr lang="ru-RU" sz="4000" b="1" dirty="0"/>
              <a:t>по учебному предмету и </a:t>
            </a:r>
            <a:r>
              <a:rPr lang="ru-RU" sz="4000" b="1" dirty="0">
                <a:solidFill>
                  <a:schemeClr val="bg1"/>
                </a:solidFill>
              </a:rPr>
              <a:t>………….</a:t>
            </a:r>
            <a:r>
              <a:rPr lang="ru-RU" sz="4000" b="1" dirty="0"/>
              <a:t>соответствующий ей учебник из </a:t>
            </a:r>
            <a:r>
              <a:rPr lang="ru-RU" sz="4000" b="1" dirty="0" smtClean="0"/>
              <a:t>ФПУ</a:t>
            </a:r>
          </a:p>
          <a:p>
            <a:endParaRPr lang="ru-RU" sz="4000" b="1" dirty="0"/>
          </a:p>
          <a:p>
            <a:pPr lvl="2"/>
            <a:r>
              <a:rPr lang="ru-RU" sz="2800" dirty="0" smtClean="0"/>
              <a:t>Федеральный </a:t>
            </a:r>
            <a:r>
              <a:rPr lang="ru-RU" sz="2800" dirty="0"/>
              <a:t>перечень учебников </a:t>
            </a:r>
            <a:r>
              <a:rPr lang="ru-RU" sz="2800" dirty="0">
                <a:solidFill>
                  <a:schemeClr val="bg1"/>
                </a:solidFill>
              </a:rPr>
              <a:t>…………………………………………</a:t>
            </a:r>
            <a:r>
              <a:rPr lang="ru-RU" sz="2800" dirty="0"/>
              <a:t> Приказ Министерства просвещения Российской Федерации     от 28.12.2018 г. № 345 «О федеральном перечне учебников …»</a:t>
            </a:r>
          </a:p>
          <a:p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2492932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Объект 1051"/>
          <p:cNvSpPr>
            <a:spLocks noGrp="1"/>
          </p:cNvSpPr>
          <p:nvPr>
            <p:ph sz="half" idx="4294967295"/>
          </p:nvPr>
        </p:nvSpPr>
        <p:spPr>
          <a:xfrm>
            <a:off x="331750" y="1404866"/>
            <a:ext cx="7155437" cy="5170488"/>
          </a:xfrm>
        </p:spPr>
        <p:txBody>
          <a:bodyPr>
            <a:normAutofit/>
          </a:bodyPr>
          <a:lstStyle/>
          <a:p>
            <a:pPr lvl="0"/>
            <a:r>
              <a:rPr lang="ru-RU" dirty="0" smtClean="0"/>
              <a:t>Рабочая программа</a:t>
            </a:r>
          </a:p>
          <a:p>
            <a:pPr marL="457200" lvl="1" indent="0">
              <a:buNone/>
            </a:pPr>
            <a:r>
              <a:rPr lang="ru-RU" sz="1400" u="sng" dirty="0" smtClean="0">
                <a:hlinkClick r:id="rId3"/>
              </a:rPr>
              <a:t>https</a:t>
            </a:r>
            <a:r>
              <a:rPr lang="ru-RU" sz="1400" u="sng" dirty="0">
                <a:hlinkClick r:id="rId3"/>
              </a:rPr>
              <a:t>://shop.prosv.ru/texnologiya--rabochie-programmy--5-9-klassy3036</a:t>
            </a:r>
            <a:endParaRPr lang="ru-RU" sz="1600" dirty="0"/>
          </a:p>
          <a:p>
            <a:pPr lvl="0"/>
            <a:r>
              <a:rPr lang="ru-RU" dirty="0" smtClean="0"/>
              <a:t>Учебник</a:t>
            </a:r>
          </a:p>
          <a:p>
            <a:pPr marL="457200" lvl="1" indent="0">
              <a:buNone/>
            </a:pPr>
            <a:r>
              <a:rPr lang="en-US" sz="1400" dirty="0">
                <a:hlinkClick r:id="rId4"/>
              </a:rPr>
              <a:t>http://</a:t>
            </a:r>
            <a:r>
              <a:rPr lang="en-US" sz="1400" dirty="0" smtClean="0">
                <a:hlinkClick r:id="rId4"/>
              </a:rPr>
              <a:t>technology.prosv.ru/umk/3.html</a:t>
            </a:r>
            <a:endParaRPr lang="en-US" sz="1400" dirty="0" smtClean="0"/>
          </a:p>
          <a:p>
            <a:r>
              <a:rPr lang="ru-RU" dirty="0"/>
              <a:t>Учебник в электронной форме</a:t>
            </a:r>
            <a:endParaRPr lang="en-US" dirty="0"/>
          </a:p>
          <a:p>
            <a:pPr marL="457200" lvl="1" indent="0">
              <a:buNone/>
            </a:pPr>
            <a:r>
              <a:rPr lang="en-US" sz="1400" dirty="0">
                <a:solidFill>
                  <a:prstClr val="black"/>
                </a:solidFill>
                <a:hlinkClick r:id="rId4"/>
              </a:rPr>
              <a:t>http://technology.prosv.ru/umk/3.html</a:t>
            </a:r>
            <a:endParaRPr lang="en-US" sz="1400" dirty="0">
              <a:solidFill>
                <a:prstClr val="black"/>
              </a:solidFill>
            </a:endParaRPr>
          </a:p>
          <a:p>
            <a:pPr lvl="0"/>
            <a:r>
              <a:rPr lang="ru-RU" dirty="0" smtClean="0"/>
              <a:t>Методическое </a:t>
            </a:r>
            <a:r>
              <a:rPr lang="ru-RU" dirty="0"/>
              <a:t>пособие</a:t>
            </a:r>
          </a:p>
          <a:p>
            <a:pPr marL="457200" lvl="1" indent="0">
              <a:buNone/>
            </a:pPr>
            <a:r>
              <a:rPr lang="en-US" sz="1400" u="sng" dirty="0">
                <a:hlinkClick r:id="rId5"/>
              </a:rPr>
              <a:t>https://shop.prosv.ru/texnologiya--metodicheskoe-posobie--</a:t>
            </a:r>
            <a:r>
              <a:rPr lang="en-US" sz="1400" u="sng" dirty="0" smtClean="0">
                <a:hlinkClick r:id="rId5"/>
              </a:rPr>
              <a:t>5-9-klassy11238</a:t>
            </a:r>
            <a:endParaRPr lang="ru-RU" sz="1600" u="sng" dirty="0" smtClean="0"/>
          </a:p>
          <a:p>
            <a:r>
              <a:rPr lang="ru-RU" dirty="0"/>
              <a:t>Моя будущая профессия</a:t>
            </a:r>
          </a:p>
          <a:p>
            <a:pPr marL="457200" lvl="1" indent="0">
              <a:buNone/>
            </a:pPr>
            <a:r>
              <a:rPr lang="en-US" sz="1400" dirty="0">
                <a:hlinkClick r:id="rId6"/>
              </a:rPr>
              <a:t>http://mycareer.prosv.ru</a:t>
            </a:r>
            <a:r>
              <a:rPr lang="en-US" sz="1400" dirty="0" smtClean="0">
                <a:hlinkClick r:id="rId6"/>
              </a:rPr>
              <a:t>/</a:t>
            </a:r>
            <a:endParaRPr lang="ru-RU" sz="1400" dirty="0" smtClean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968893">
            <a:off x="7069028" y="843617"/>
            <a:ext cx="1654593" cy="22123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501772">
            <a:off x="6568743" y="1994509"/>
            <a:ext cx="1651244" cy="22123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198455">
            <a:off x="6262853" y="3145401"/>
            <a:ext cx="1649733" cy="22123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530067">
            <a:off x="6138717" y="4296292"/>
            <a:ext cx="1650850" cy="22123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0281" y="1507993"/>
            <a:ext cx="1385770" cy="18321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4559" y="1507993"/>
            <a:ext cx="1377986" cy="18321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МК «</a:t>
            </a:r>
            <a:r>
              <a:rPr lang="ru-RU" dirty="0" smtClean="0"/>
              <a:t>Технология. 5-9 классы» </a:t>
            </a:r>
            <a:r>
              <a:rPr lang="ru-RU" dirty="0"/>
              <a:t>под </a:t>
            </a:r>
            <a:r>
              <a:rPr lang="ru-RU" dirty="0" smtClean="0"/>
              <a:t>ред.</a:t>
            </a:r>
            <a:r>
              <a:rPr lang="en-US" dirty="0" smtClean="0"/>
              <a:t> </a:t>
            </a:r>
            <a:r>
              <a:rPr lang="ru-RU" dirty="0" smtClean="0"/>
              <a:t>В.М</a:t>
            </a:r>
            <a:r>
              <a:rPr lang="ru-RU" dirty="0"/>
              <a:t>. </a:t>
            </a:r>
            <a:r>
              <a:rPr lang="ru-RU" dirty="0" smtClean="0"/>
              <a:t>Казакевича</a:t>
            </a:r>
            <a:endParaRPr lang="ru-RU" dirty="0"/>
          </a:p>
        </p:txBody>
      </p:sp>
      <p:pic>
        <p:nvPicPr>
          <p:cNvPr id="21" name="Picture 6" descr="C:\Users\ATolmacheva\Desktop\Тесты по профориентации. 9 класс.jp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03179" y="3761967"/>
            <a:ext cx="1272872" cy="18321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C:\Users\ATolmacheva\Desktop\Тесты по профориентации. 8 класс.jpg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04559" y="3761971"/>
            <a:ext cx="1327205" cy="18321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8091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ТЕХНОЛОГИЯ</a:t>
            </a:r>
            <a:br>
              <a:rPr lang="ru-RU" dirty="0"/>
            </a:br>
            <a:r>
              <a:rPr lang="ru-RU" dirty="0"/>
              <a:t>АЛЬТЕРНАТИВА УЧЕБНИКАМ, ИСКЛЮЧЁННЫМ ИЗ ФПУ</a:t>
            </a:r>
          </a:p>
        </p:txBody>
      </p:sp>
      <p:sp>
        <p:nvSpPr>
          <p:cNvPr id="15" name="Нашивка 66"/>
          <p:cNvSpPr/>
          <p:nvPr/>
        </p:nvSpPr>
        <p:spPr>
          <a:xfrm rot="5400000">
            <a:off x="10424071" y="2558460"/>
            <a:ext cx="484632" cy="512498"/>
          </a:xfrm>
          <a:prstGeom prst="chevron">
            <a:avLst/>
          </a:prstGeom>
          <a:solidFill>
            <a:srgbClr val="2947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11" name="Нашивка 13"/>
          <p:cNvSpPr/>
          <p:nvPr/>
        </p:nvSpPr>
        <p:spPr>
          <a:xfrm rot="5400000">
            <a:off x="1258646" y="2558460"/>
            <a:ext cx="484632" cy="512498"/>
          </a:xfrm>
          <a:prstGeom prst="chevron">
            <a:avLst/>
          </a:prstGeom>
          <a:solidFill>
            <a:srgbClr val="2947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4" name="Нашивка 34"/>
          <p:cNvSpPr/>
          <p:nvPr/>
        </p:nvSpPr>
        <p:spPr>
          <a:xfrm rot="5400000">
            <a:off x="4314138" y="2572393"/>
            <a:ext cx="484632" cy="484632"/>
          </a:xfrm>
          <a:prstGeom prst="chevron">
            <a:avLst/>
          </a:prstGeom>
          <a:solidFill>
            <a:srgbClr val="2947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5" name="Нашивка 35"/>
          <p:cNvSpPr/>
          <p:nvPr/>
        </p:nvSpPr>
        <p:spPr>
          <a:xfrm rot="5400000">
            <a:off x="7369630" y="2572393"/>
            <a:ext cx="484632" cy="484632"/>
          </a:xfrm>
          <a:prstGeom prst="chevron">
            <a:avLst/>
          </a:prstGeom>
          <a:solidFill>
            <a:srgbClr val="2947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5">
                  <a:lumMod val="75000"/>
                </a:schemeClr>
              </a:solidFill>
              <a:latin typeface="+mj-lt"/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6059" y="3604379"/>
            <a:ext cx="1914857" cy="25030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54271" y="3604379"/>
            <a:ext cx="1912354" cy="250308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53369" y="3604379"/>
            <a:ext cx="1852280" cy="25030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2446" y="3604379"/>
            <a:ext cx="1877310" cy="25030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6" name="Прямоугольник 45"/>
          <p:cNvSpPr/>
          <p:nvPr/>
        </p:nvSpPr>
        <p:spPr>
          <a:xfrm>
            <a:off x="2744425" y="2977717"/>
            <a:ext cx="660789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Технология. П</a:t>
            </a:r>
            <a:r>
              <a:rPr lang="ru-RU" sz="2800" b="1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од </a:t>
            </a:r>
            <a:r>
              <a:rPr lang="ru-RU" sz="28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ред. Казакевича В.М. (5-9)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3000374" y="2506936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8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Альтернатива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134454" y="1560135"/>
            <a:ext cx="2844000" cy="91089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kern="1200" dirty="0" smtClean="0">
                <a:solidFill>
                  <a:schemeClr val="tx1"/>
                </a:solidFill>
                <a:latin typeface="+mj-lt"/>
              </a:rPr>
              <a:t>Технология</a:t>
            </a:r>
            <a:r>
              <a:rPr lang="ru-RU" sz="1200" b="1" kern="1200" dirty="0">
                <a:solidFill>
                  <a:schemeClr val="tx1"/>
                </a:solidFill>
                <a:latin typeface="+mj-lt"/>
              </a:rPr>
              <a:t>. Синица Н.В., </a:t>
            </a:r>
            <a:r>
              <a:rPr lang="ru-RU" sz="1200" b="1" kern="1200" dirty="0" err="1">
                <a:solidFill>
                  <a:schemeClr val="tx1"/>
                </a:solidFill>
                <a:latin typeface="+mj-lt"/>
              </a:rPr>
              <a:t>Самородский</a:t>
            </a:r>
            <a:r>
              <a:rPr lang="ru-RU" sz="1200" b="1" kern="1200" dirty="0">
                <a:solidFill>
                  <a:schemeClr val="tx1"/>
                </a:solidFill>
                <a:latin typeface="+mj-lt"/>
              </a:rPr>
              <a:t> П.С., Симоненко В.Д., Яковенко О.В</a:t>
            </a:r>
            <a:r>
              <a:rPr lang="ru-RU" sz="1200" b="1" kern="1200" dirty="0" smtClean="0">
                <a:solidFill>
                  <a:schemeClr val="tx1"/>
                </a:solidFill>
                <a:latin typeface="+mj-lt"/>
              </a:rPr>
              <a:t>.</a:t>
            </a:r>
          </a:p>
          <a:p>
            <a:r>
              <a:rPr lang="ru-RU" sz="1200" b="1" kern="1200" dirty="0" smtClean="0">
                <a:solidFill>
                  <a:schemeClr val="tx1"/>
                </a:solidFill>
                <a:latin typeface="+mj-lt"/>
              </a:rPr>
              <a:t>(</a:t>
            </a:r>
            <a:r>
              <a:rPr lang="ru-RU" sz="1200" b="1" kern="1200" dirty="0">
                <a:solidFill>
                  <a:schemeClr val="tx1"/>
                </a:solidFill>
                <a:latin typeface="+mj-lt"/>
              </a:rPr>
              <a:t>5-8</a:t>
            </a:r>
            <a:r>
              <a:rPr lang="ru-RU" sz="1200" b="1" kern="1200" dirty="0" smtClean="0">
                <a:solidFill>
                  <a:schemeClr val="tx1"/>
                </a:solidFill>
                <a:latin typeface="+mj-lt"/>
              </a:rPr>
              <a:t>) </a:t>
            </a:r>
            <a:r>
              <a:rPr lang="ru-RU" sz="1200" b="1" kern="1200" dirty="0">
                <a:solidFill>
                  <a:schemeClr val="tx1"/>
                </a:solidFill>
                <a:latin typeface="+mj-lt"/>
              </a:rPr>
              <a:t>(Вентана-Граф</a:t>
            </a:r>
            <a:r>
              <a:rPr lang="ru-RU" sz="1200" b="1" kern="1200" dirty="0" smtClean="0">
                <a:solidFill>
                  <a:schemeClr val="tx1"/>
                </a:solidFill>
                <a:latin typeface="+mj-lt"/>
              </a:rPr>
              <a:t>)</a:t>
            </a:r>
            <a:endParaRPr lang="ru-RU" sz="12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9245439" y="1560135"/>
            <a:ext cx="2844000" cy="91089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t">
              <a:defRPr/>
            </a:pPr>
            <a:r>
              <a:rPr lang="ru-RU" sz="1200" b="1" kern="1200" dirty="0" smtClean="0">
                <a:solidFill>
                  <a:schemeClr val="tx1"/>
                </a:solidFill>
                <a:latin typeface="+mj-lt"/>
              </a:rPr>
              <a:t>Технология</a:t>
            </a:r>
            <a:r>
              <a:rPr lang="ru-RU" sz="1200" b="1" kern="1200" dirty="0">
                <a:solidFill>
                  <a:schemeClr val="tx1"/>
                </a:solidFill>
                <a:latin typeface="+mj-lt"/>
              </a:rPr>
              <a:t>. Сасова И.А., Павлова М.Б., Гуревич М.И., Дж. </a:t>
            </a:r>
            <a:r>
              <a:rPr lang="ru-RU" sz="1200" b="1" kern="1200" dirty="0" err="1">
                <a:solidFill>
                  <a:schemeClr val="tx1"/>
                </a:solidFill>
                <a:latin typeface="+mj-lt"/>
              </a:rPr>
              <a:t>Питт</a:t>
            </a:r>
            <a:r>
              <a:rPr lang="ru-RU" sz="1200" b="1" kern="1200" dirty="0">
                <a:solidFill>
                  <a:schemeClr val="tx1"/>
                </a:solidFill>
                <a:latin typeface="+mj-lt"/>
              </a:rPr>
              <a:t> </a:t>
            </a:r>
            <a:r>
              <a:rPr lang="ru-RU" sz="1200" b="1" kern="1200" dirty="0" smtClean="0">
                <a:solidFill>
                  <a:schemeClr val="tx1"/>
                </a:solidFill>
                <a:latin typeface="+mj-lt"/>
              </a:rPr>
              <a:t>/ Под </a:t>
            </a:r>
            <a:r>
              <a:rPr lang="ru-RU" sz="1200" b="1" kern="1200" dirty="0">
                <a:solidFill>
                  <a:schemeClr val="tx1"/>
                </a:solidFill>
                <a:latin typeface="+mj-lt"/>
              </a:rPr>
              <a:t>ред. </a:t>
            </a:r>
            <a:r>
              <a:rPr lang="ru-RU" sz="1200" b="1" kern="1200" dirty="0" err="1">
                <a:solidFill>
                  <a:schemeClr val="tx1"/>
                </a:solidFill>
                <a:latin typeface="+mj-lt"/>
              </a:rPr>
              <a:t>Сасовой</a:t>
            </a:r>
            <a:r>
              <a:rPr lang="ru-RU" sz="1200" b="1" kern="1200" dirty="0">
                <a:solidFill>
                  <a:schemeClr val="tx1"/>
                </a:solidFill>
                <a:latin typeface="+mj-lt"/>
              </a:rPr>
              <a:t> И.А. </a:t>
            </a:r>
            <a:r>
              <a:rPr lang="ru-RU" sz="1200" b="1" kern="1200" dirty="0" smtClean="0">
                <a:solidFill>
                  <a:schemeClr val="tx1"/>
                </a:solidFill>
                <a:latin typeface="+mj-lt"/>
              </a:rPr>
              <a:t>(</a:t>
            </a:r>
            <a:r>
              <a:rPr lang="ru-RU" sz="1200" b="1" kern="1200" dirty="0">
                <a:solidFill>
                  <a:schemeClr val="tx1"/>
                </a:solidFill>
                <a:latin typeface="+mj-lt"/>
              </a:rPr>
              <a:t>5-8) (Вентана-Граф</a:t>
            </a:r>
            <a:r>
              <a:rPr lang="ru-RU" sz="1200" b="1" kern="1200" dirty="0" smtClean="0">
                <a:solidFill>
                  <a:schemeClr val="tx1"/>
                </a:solidFill>
                <a:latin typeface="+mj-lt"/>
              </a:rPr>
              <a:t>)</a:t>
            </a:r>
            <a:endParaRPr lang="ru-RU" sz="1200" b="1" kern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78962" y="1560135"/>
            <a:ext cx="2844000" cy="91089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t"/>
            <a:r>
              <a:rPr lang="ru-RU" sz="1200" b="1" kern="1200" dirty="0" smtClean="0">
                <a:solidFill>
                  <a:schemeClr val="tx1"/>
                </a:solidFill>
                <a:latin typeface="+mj-lt"/>
              </a:rPr>
              <a:t>Технология</a:t>
            </a:r>
            <a:r>
              <a:rPr lang="ru-RU" sz="1200" b="1" kern="1200" dirty="0">
                <a:solidFill>
                  <a:schemeClr val="tx1"/>
                </a:solidFill>
                <a:latin typeface="+mj-lt"/>
              </a:rPr>
              <a:t>. Казакевич В.М., </a:t>
            </a:r>
            <a:r>
              <a:rPr lang="ru-RU" sz="1200" b="1" kern="1200" dirty="0" err="1">
                <a:solidFill>
                  <a:schemeClr val="tx1"/>
                </a:solidFill>
                <a:latin typeface="+mj-lt"/>
              </a:rPr>
              <a:t>Молева</a:t>
            </a:r>
            <a:r>
              <a:rPr lang="ru-RU" sz="1200" b="1" kern="1200" dirty="0">
                <a:solidFill>
                  <a:schemeClr val="tx1"/>
                </a:solidFill>
                <a:latin typeface="+mj-lt"/>
              </a:rPr>
              <a:t> Г.А., Кожина О.А. и др. </a:t>
            </a:r>
          </a:p>
          <a:p>
            <a:pPr fontAlgn="t"/>
            <a:r>
              <a:rPr lang="ru-RU" sz="1200" b="1" kern="1200" dirty="0">
                <a:solidFill>
                  <a:schemeClr val="tx1"/>
                </a:solidFill>
                <a:latin typeface="+mj-lt"/>
              </a:rPr>
              <a:t>(5-8) (Дрофа</a:t>
            </a:r>
            <a:r>
              <a:rPr lang="ru-RU" sz="1200" b="1" kern="1200" dirty="0" smtClean="0">
                <a:solidFill>
                  <a:schemeClr val="tx1"/>
                </a:solidFill>
                <a:latin typeface="+mj-lt"/>
              </a:rPr>
              <a:t>)</a:t>
            </a:r>
            <a:endParaRPr lang="ru-RU" sz="1200" b="1" kern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189946" y="1560135"/>
            <a:ext cx="2844000" cy="91089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t">
              <a:defRPr/>
            </a:pPr>
            <a:r>
              <a:rPr lang="ru-RU" sz="1200" b="1" kern="1200" dirty="0" smtClean="0">
                <a:solidFill>
                  <a:schemeClr val="tx1"/>
                </a:solidFill>
                <a:latin typeface="+mj-lt"/>
              </a:rPr>
              <a:t>Технология</a:t>
            </a:r>
            <a:r>
              <a:rPr lang="ru-RU" sz="1200" b="1" kern="1200" dirty="0">
                <a:solidFill>
                  <a:schemeClr val="tx1"/>
                </a:solidFill>
                <a:latin typeface="+mj-lt"/>
              </a:rPr>
              <a:t>. Синица Н.В</a:t>
            </a:r>
            <a:r>
              <a:rPr lang="ru-RU" sz="1200" b="1" kern="1200" dirty="0" smtClean="0">
                <a:solidFill>
                  <a:schemeClr val="tx1"/>
                </a:solidFill>
                <a:latin typeface="+mj-lt"/>
              </a:rPr>
              <a:t>., </a:t>
            </a:r>
          </a:p>
          <a:p>
            <a:pPr fontAlgn="t">
              <a:defRPr/>
            </a:pPr>
            <a:r>
              <a:rPr lang="ru-RU" sz="1200" b="1" kern="1200" dirty="0" smtClean="0">
                <a:solidFill>
                  <a:schemeClr val="tx1"/>
                </a:solidFill>
                <a:latin typeface="+mj-lt"/>
              </a:rPr>
              <a:t>Симоненко В.Д. и др. </a:t>
            </a:r>
          </a:p>
          <a:p>
            <a:pPr fontAlgn="t">
              <a:defRPr/>
            </a:pPr>
            <a:r>
              <a:rPr lang="ru-RU" sz="1200" b="1" kern="1200" dirty="0" smtClean="0">
                <a:solidFill>
                  <a:schemeClr val="tx1"/>
                </a:solidFill>
                <a:latin typeface="+mj-lt"/>
              </a:rPr>
              <a:t>(</a:t>
            </a:r>
            <a:r>
              <a:rPr lang="ru-RU" sz="1200" b="1" kern="1200" dirty="0">
                <a:solidFill>
                  <a:schemeClr val="tx1"/>
                </a:solidFill>
                <a:latin typeface="+mj-lt"/>
              </a:rPr>
              <a:t>5-9) (Вентана-Граф</a:t>
            </a:r>
            <a:r>
              <a:rPr lang="ru-RU" sz="1200" b="1" kern="1200" dirty="0" smtClean="0">
                <a:solidFill>
                  <a:schemeClr val="tx1"/>
                </a:solidFill>
                <a:latin typeface="+mj-lt"/>
              </a:rPr>
              <a:t>)</a:t>
            </a:r>
            <a:endParaRPr lang="ru-RU" sz="1200" b="1" kern="12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3048000" y="1054138"/>
            <a:ext cx="6096000" cy="31944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80000"/>
              </a:lnSpc>
            </a:pPr>
            <a:r>
              <a:rPr lang="ru-RU" sz="18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Исключённые из ФПУ </a:t>
            </a:r>
            <a:r>
              <a:rPr lang="ru-RU" sz="1800" b="1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учебники</a:t>
            </a:r>
            <a:endParaRPr lang="ru-RU" sz="1800" b="1" kern="1200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45128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 smtClean="0"/>
              <a:t>ЭТАПЫ СОСТАВЛЕНИЯ РАБОЧЕЙ ПРОГРАММЫ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199" y="1005840"/>
            <a:ext cx="10843517" cy="526093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Шаг 1. </a:t>
            </a:r>
            <a:r>
              <a:rPr lang="ru-RU" dirty="0" smtClean="0">
                <a:solidFill>
                  <a:schemeClr val="bg1">
                    <a:lumMod val="50000"/>
                  </a:schemeClr>
                </a:solidFill>
              </a:rPr>
              <a:t>Изучить нормативную базу </a:t>
            </a:r>
          </a:p>
          <a:p>
            <a:pPr marL="0" indent="0">
              <a:buNone/>
            </a:pPr>
            <a:r>
              <a:rPr lang="ru-RU" dirty="0" smtClean="0">
                <a:solidFill>
                  <a:schemeClr val="bg1">
                    <a:lumMod val="50000"/>
                  </a:schemeClr>
                </a:solidFill>
              </a:rPr>
              <a:t>Шаг 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2. </a:t>
            </a:r>
            <a:r>
              <a:rPr lang="ru-RU" dirty="0" smtClean="0">
                <a:solidFill>
                  <a:schemeClr val="bg1">
                    <a:lumMod val="50000"/>
                  </a:schemeClr>
                </a:solidFill>
              </a:rPr>
              <a:t>Выбрать программу 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по учебному </a:t>
            </a:r>
            <a:r>
              <a:rPr lang="ru-RU" dirty="0" smtClean="0">
                <a:solidFill>
                  <a:schemeClr val="bg1">
                    <a:lumMod val="50000"/>
                  </a:schemeClr>
                </a:solidFill>
              </a:rPr>
              <a:t>предмету и </a:t>
            </a:r>
          </a:p>
          <a:p>
            <a:pPr marL="0" indent="1260000">
              <a:lnSpc>
                <a:spcPct val="50000"/>
              </a:lnSpc>
              <a:buNone/>
            </a:pPr>
            <a:r>
              <a:rPr lang="ru-RU" dirty="0" smtClean="0">
                <a:solidFill>
                  <a:schemeClr val="bg1">
                    <a:lumMod val="50000"/>
                  </a:schemeClr>
                </a:solidFill>
              </a:rPr>
              <a:t>соответствующий 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ей учебник из </a:t>
            </a:r>
            <a:r>
              <a:rPr lang="ru-RU" dirty="0" smtClean="0">
                <a:solidFill>
                  <a:schemeClr val="bg1">
                    <a:lumMod val="50000"/>
                  </a:schemeClr>
                </a:solidFill>
              </a:rPr>
              <a:t>ФПУ</a:t>
            </a:r>
          </a:p>
          <a:p>
            <a:pPr marL="0" indent="0">
              <a:buNone/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Шаг 3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.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Сравнить цели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изучения учебного предмета в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выбранной</a:t>
            </a:r>
          </a:p>
          <a:p>
            <a:pPr marL="0" indent="1260000">
              <a:lnSpc>
                <a:spcPct val="50000"/>
              </a:lnSpc>
              <a:buNone/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авторской рабочей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программе с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целями, сформулированными</a:t>
            </a:r>
          </a:p>
          <a:p>
            <a:pPr marL="0" indent="1260000">
              <a:lnSpc>
                <a:spcPct val="50000"/>
              </a:lnSpc>
              <a:buNone/>
            </a:pP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в ПООП, </a:t>
            </a:r>
            <a:r>
              <a:rPr lang="ru-RU" b="1" dirty="0">
                <a:solidFill>
                  <a:schemeClr val="bg1">
                    <a:lumMod val="50000"/>
                  </a:schemeClr>
                </a:solidFill>
              </a:rPr>
              <a:t>а также с целями и задачами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</a:rPr>
              <a:t>ОП ОО</a:t>
            </a:r>
          </a:p>
          <a:p>
            <a:pPr marL="0" indent="1260000">
              <a:lnSpc>
                <a:spcPct val="50000"/>
              </a:lnSpc>
              <a:buNone/>
            </a:pPr>
            <a:endParaRPr lang="ru-RU" b="1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1260000">
              <a:lnSpc>
                <a:spcPct val="50000"/>
              </a:lnSpc>
              <a:buNone/>
            </a:pPr>
            <a:endParaRPr lang="ru-RU" b="1" dirty="0" smtClean="0">
              <a:solidFill>
                <a:schemeClr val="bg1">
                  <a:lumMod val="50000"/>
                </a:schemeClr>
              </a:solidFill>
            </a:endParaRPr>
          </a:p>
          <a:p>
            <a:pPr lvl="2"/>
            <a:r>
              <a:rPr lang="ru-RU" dirty="0" smtClean="0">
                <a:solidFill>
                  <a:schemeClr val="bg1">
                    <a:lumMod val="50000"/>
                  </a:schemeClr>
                </a:solidFill>
              </a:rPr>
              <a:t>Анализ учебно-методического и материально-технического обеспечения образовательного процесса с точки зрения его соответствия требованиям к условиям реализации ОП ОО</a:t>
            </a:r>
          </a:p>
          <a:p>
            <a:pPr lvl="2"/>
            <a:r>
              <a:rPr lang="ru-RU" dirty="0" smtClean="0">
                <a:solidFill>
                  <a:schemeClr val="bg1">
                    <a:lumMod val="50000"/>
                  </a:schemeClr>
                </a:solidFill>
              </a:rPr>
              <a:t>Изучение возрастных особенностей и данных психолого-педагогической 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</a:rPr>
              <a:t>диагностики </a:t>
            </a:r>
            <a:r>
              <a:rPr lang="ru-RU" dirty="0" smtClean="0">
                <a:solidFill>
                  <a:schemeClr val="bg1">
                    <a:lumMod val="50000"/>
                  </a:schemeClr>
                </a:solidFill>
              </a:rPr>
              <a:t>обучающихся</a:t>
            </a:r>
            <a:endParaRPr lang="ru-RU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027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87603" y="1449365"/>
            <a:ext cx="10342728" cy="250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 descr="http://www.clipartbest.com/cliparts/dc7/L4n/dc7L4ndoi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209" y="1381125"/>
            <a:ext cx="1825007" cy="136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TA BEN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98345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 descr="http://www.clipartbest.com/cliparts/dc7/L4n/dc7L4ndoi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209" y="1381125"/>
            <a:ext cx="1825007" cy="136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TA BENE</a:t>
            </a:r>
            <a:endParaRPr lang="ru-RU" dirty="0"/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33664" y="1328962"/>
            <a:ext cx="9741516" cy="4130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33663" y="4280761"/>
            <a:ext cx="9741517" cy="2523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507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 smtClean="0"/>
              <a:t>ЭТАПЫ СОСТАВЛЕНИЯ РАБОЧЕЙ ПРОГРАММЫ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sz="44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Шаг 4. Оформить планируемые результаты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890446" y="2445331"/>
            <a:ext cx="9463354" cy="25473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 algn="just" defTabSz="91440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2800" kern="12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Планируемые результаты представляют </a:t>
            </a:r>
            <a:r>
              <a:rPr lang="ru-RU" sz="28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собой </a:t>
            </a:r>
            <a:r>
              <a:rPr lang="ru-RU" sz="2800" kern="1200" dirty="0" smtClean="0">
                <a:solidFill>
                  <a:srgbClr val="E22A8B"/>
                </a:solidFill>
                <a:latin typeface="+mj-lt"/>
              </a:rPr>
              <a:t>личностные, метапредметные и предметные результаты </a:t>
            </a:r>
            <a:r>
              <a:rPr lang="ru-RU" sz="2800" kern="12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обучения</a:t>
            </a:r>
            <a:r>
              <a:rPr lang="ru-RU" sz="28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, </a:t>
            </a:r>
            <a:r>
              <a:rPr lang="ru-RU" sz="2800" kern="12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выраженные </a:t>
            </a:r>
            <a:r>
              <a:rPr lang="ru-RU" sz="28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в действиях обучающихся и </a:t>
            </a:r>
            <a:r>
              <a:rPr lang="ru-RU" sz="2800" kern="1200" dirty="0">
                <a:solidFill>
                  <a:srgbClr val="E22A8B"/>
                </a:solidFill>
                <a:latin typeface="+mj-lt"/>
              </a:rPr>
              <a:t>реально </a:t>
            </a:r>
            <a:r>
              <a:rPr lang="ru-RU" sz="2800" kern="1200" dirty="0" smtClean="0">
                <a:solidFill>
                  <a:srgbClr val="E22A8B"/>
                </a:solidFill>
                <a:latin typeface="+mj-lt"/>
              </a:rPr>
              <a:t>измеримые</a:t>
            </a:r>
          </a:p>
          <a:p>
            <a:pPr marL="228600" lvl="0" indent="-228600" algn="just" defTabSz="91440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ru-RU" sz="2800" kern="12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Основанием </a:t>
            </a:r>
            <a:r>
              <a:rPr lang="ru-RU" sz="2800" kern="1200" dirty="0">
                <a:solidFill>
                  <a:prstClr val="black">
                    <a:lumMod val="65000"/>
                    <a:lumOff val="35000"/>
                  </a:prstClr>
                </a:solidFill>
                <a:latin typeface="+mj-lt"/>
              </a:rPr>
              <a:t>для выделения требований к уровню подготовки  обучающихся выступает ФГОС, ПООП и ОП ОО</a:t>
            </a:r>
          </a:p>
        </p:txBody>
      </p:sp>
    </p:spTree>
    <p:extLst>
      <p:ext uri="{BB962C8B-B14F-4D97-AF65-F5344CB8AC3E}">
        <p14:creationId xmlns:p14="http://schemas.microsoft.com/office/powerpoint/2010/main" val="3052496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ЛАНИРУЕМЫЕ РЕЗУЛЬТАТЫ ОСВОЕНИЯ КУРСА «ТЕХНОЛОГИЯ»</a:t>
            </a:r>
            <a:endParaRPr lang="ru-RU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6547" y="1405719"/>
            <a:ext cx="3931347" cy="52270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60849" y="1405719"/>
            <a:ext cx="3931347" cy="522709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3900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ЭТАПЫ СОСТАВЛЕНИЯ РАБОЧЕЙ ПРОГРАММЫ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ru-RU" sz="44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Шаг </a:t>
            </a:r>
            <a:r>
              <a:rPr lang="ru-RU" sz="44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5</a:t>
            </a:r>
            <a:r>
              <a:rPr lang="ru-RU" sz="44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. Оформить содержание </a:t>
            </a:r>
            <a:r>
              <a:rPr lang="ru-RU" sz="44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учебной программы</a:t>
            </a:r>
          </a:p>
          <a:p>
            <a:pPr algn="just"/>
            <a:endParaRPr lang="ru-RU" sz="3600" b="1" dirty="0" smtClean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lvl="2" algn="just"/>
            <a:r>
              <a:rPr lang="ru-RU" sz="28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Сопоставить содержание авторской рабочей </a:t>
            </a: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программы с содержанием </a:t>
            </a:r>
            <a:r>
              <a:rPr lang="ru-RU" sz="2800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ПООП по предметной области «Технология».</a:t>
            </a:r>
          </a:p>
        </p:txBody>
      </p:sp>
    </p:spTree>
    <p:extLst>
      <p:ext uri="{BB962C8B-B14F-4D97-AF65-F5344CB8AC3E}">
        <p14:creationId xmlns:p14="http://schemas.microsoft.com/office/powerpoint/2010/main" val="1745046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TA BENE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800225" y="1514520"/>
            <a:ext cx="9553575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800" dirty="0" smtClean="0"/>
              <a:t>Содержание курса включает </a:t>
            </a:r>
            <a:r>
              <a:rPr lang="ru-RU" sz="2800" dirty="0"/>
              <a:t>в себя изучение </a:t>
            </a:r>
            <a:r>
              <a:rPr lang="ru-RU" sz="2800" i="1" dirty="0" smtClean="0">
                <a:solidFill>
                  <a:schemeClr val="accent5"/>
                </a:solidFill>
              </a:rPr>
              <a:t>трёх блоков </a:t>
            </a:r>
            <a:r>
              <a:rPr lang="ru-RU" sz="2800" dirty="0" smtClean="0"/>
              <a:t>«</a:t>
            </a:r>
            <a:r>
              <a:rPr lang="ru-RU" sz="2800" dirty="0"/>
              <a:t>Современные материальные, информационные и </a:t>
            </a:r>
            <a:r>
              <a:rPr lang="ru-RU" sz="2800" dirty="0" smtClean="0"/>
              <a:t>гуманитарные технологии </a:t>
            </a:r>
            <a:r>
              <a:rPr lang="ru-RU" sz="2800" dirty="0"/>
              <a:t>и перспективы их развития</a:t>
            </a:r>
            <a:r>
              <a:rPr lang="ru-RU" sz="2800" dirty="0" smtClean="0"/>
              <a:t>» </a:t>
            </a:r>
            <a:r>
              <a:rPr lang="ru-RU" sz="2800" i="1" dirty="0" smtClean="0">
                <a:solidFill>
                  <a:schemeClr val="accent5"/>
                </a:solidFill>
              </a:rPr>
              <a:t>(1)</a:t>
            </a:r>
            <a:r>
              <a:rPr lang="ru-RU" sz="2800" dirty="0" smtClean="0"/>
              <a:t>, «</a:t>
            </a:r>
            <a:r>
              <a:rPr lang="ru-RU" sz="2800" dirty="0"/>
              <a:t>Формирование </a:t>
            </a:r>
            <a:r>
              <a:rPr lang="ru-RU" sz="2800" dirty="0" smtClean="0"/>
              <a:t>технологической культуры </a:t>
            </a:r>
            <a:r>
              <a:rPr lang="ru-RU" sz="2800" dirty="0"/>
              <a:t>и проектно-технологического мышления обучающихся</a:t>
            </a:r>
            <a:r>
              <a:rPr lang="ru-RU" sz="2800" dirty="0" smtClean="0"/>
              <a:t>» </a:t>
            </a:r>
            <a:r>
              <a:rPr lang="ru-RU" sz="2800" i="1" dirty="0" smtClean="0">
                <a:solidFill>
                  <a:schemeClr val="accent5"/>
                </a:solidFill>
              </a:rPr>
              <a:t>(2)</a:t>
            </a:r>
            <a:r>
              <a:rPr lang="ru-RU" sz="2800" dirty="0" smtClean="0"/>
              <a:t> и «</a:t>
            </a:r>
            <a:r>
              <a:rPr lang="ru-RU" sz="2800" dirty="0"/>
              <a:t>Построение образовательных траекторий и планов в </a:t>
            </a:r>
            <a:r>
              <a:rPr lang="ru-RU" sz="2800" dirty="0" smtClean="0"/>
              <a:t>области профессионального </a:t>
            </a:r>
            <a:r>
              <a:rPr lang="ru-RU" sz="2800" dirty="0"/>
              <a:t>самоопределения</a:t>
            </a:r>
            <a:r>
              <a:rPr lang="ru-RU" sz="2800" dirty="0" smtClean="0"/>
              <a:t>» </a:t>
            </a:r>
            <a:r>
              <a:rPr lang="ru-RU" sz="2800" i="1" dirty="0" smtClean="0">
                <a:solidFill>
                  <a:schemeClr val="accent5"/>
                </a:solidFill>
              </a:rPr>
              <a:t>(3)</a:t>
            </a:r>
            <a:endParaRPr lang="ru-RU" sz="2800" i="1" dirty="0">
              <a:solidFill>
                <a:schemeClr val="accent5"/>
              </a:solidFill>
            </a:endParaRPr>
          </a:p>
        </p:txBody>
      </p:sp>
      <p:pic>
        <p:nvPicPr>
          <p:cNvPr id="4" name="Picture 6" descr="http://www.clipartbest.com/cliparts/dc7/L4n/dc7L4ndoi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209" y="1381125"/>
            <a:ext cx="1825007" cy="136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4250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 smtClean="0"/>
              <a:t>СОДЕРЖАНИЕ УЧЕБНОЙ ПРОГРАММЫ</a:t>
            </a:r>
            <a:endParaRPr lang="ru-RU" dirty="0"/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9526" y="1364774"/>
            <a:ext cx="3972849" cy="53008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23812" y="1364775"/>
            <a:ext cx="3979849" cy="53008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3933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ЭТАПЫ СОСТАВЛЕНИЯ РАБОЧЕЙ ПРОГРАММЫ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97000" y="1614420"/>
            <a:ext cx="11608558" cy="47672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48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Шаг 6. Оформить календарно-тематическое </a:t>
            </a:r>
            <a:r>
              <a:rPr lang="ru-RU" sz="48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планирование.</a:t>
            </a:r>
          </a:p>
          <a:p>
            <a:pPr marL="0" indent="0">
              <a:buNone/>
            </a:pPr>
            <a:endParaRPr lang="en-US" sz="2400" b="1" dirty="0" smtClean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pPr marL="457200" lvl="1" indent="0">
              <a:buNone/>
            </a:pPr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Структурировать </a:t>
            </a:r>
            <a:r>
              <a:rPr lang="ru-RU" sz="28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содержание учебного </a:t>
            </a:r>
            <a:r>
              <a:rPr lang="en-US" sz="28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 </a:t>
            </a:r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материала определив последовательность </a:t>
            </a:r>
            <a:r>
              <a:rPr lang="ru-RU" sz="28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тем </a:t>
            </a:r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t>и количество </a:t>
            </a:r>
            <a:r>
              <a:rPr lang="ru-RU" sz="28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часов на изучение каждой</a:t>
            </a:r>
          </a:p>
        </p:txBody>
      </p:sp>
    </p:spTree>
    <p:extLst>
      <p:ext uri="{BB962C8B-B14F-4D97-AF65-F5344CB8AC3E}">
        <p14:creationId xmlns:p14="http://schemas.microsoft.com/office/powerpoint/2010/main" val="1080801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МК «Технология» под ред. В.М. Казакевича</a:t>
            </a:r>
          </a:p>
        </p:txBody>
      </p:sp>
      <p:sp>
        <p:nvSpPr>
          <p:cNvPr id="11" name="Объект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7547" y="1354352"/>
            <a:ext cx="3920775" cy="52469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7621" y="2796033"/>
            <a:ext cx="2837523" cy="38052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6" name="Группа 5"/>
          <p:cNvGrpSpPr/>
          <p:nvPr/>
        </p:nvGrpSpPr>
        <p:grpSpPr>
          <a:xfrm>
            <a:off x="368722" y="1354352"/>
            <a:ext cx="6561467" cy="956773"/>
            <a:chOff x="368723" y="1802520"/>
            <a:chExt cx="6561467" cy="956773"/>
          </a:xfrm>
        </p:grpSpPr>
        <p:sp>
          <p:nvSpPr>
            <p:cNvPr id="7" name="TextBox 6">
              <a:extLst>
                <a:ext uri="{FF2B5EF4-FFF2-40B4-BE49-F238E27FC236}">
                  <a16:creationId xmlns="" xmlns:a16="http://schemas.microsoft.com/office/drawing/2014/main" id="{B139A723-A86E-478B-9A92-20F301586D2E}"/>
                </a:ext>
              </a:extLst>
            </p:cNvPr>
            <p:cNvSpPr txBox="1"/>
            <p:nvPr/>
          </p:nvSpPr>
          <p:spPr>
            <a:xfrm>
              <a:off x="368723" y="1802520"/>
              <a:ext cx="6561467" cy="95677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08000" bIns="108000" rtlCol="0" anchor="ctr">
              <a:spAutoFit/>
            </a:bodyPr>
            <a:lstStyle>
              <a:defPPr>
                <a:defRPr lang="ru-RU"/>
              </a:defPPr>
              <a:lvl1pPr>
                <a:defRPr sz="2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ru-RU" dirty="0" smtClean="0"/>
                <a:t>           Инициирование </a:t>
              </a:r>
              <a:r>
                <a:rPr lang="ru-RU" dirty="0"/>
                <a:t>учебной деятельности: </a:t>
              </a:r>
              <a:r>
                <a:rPr lang="ru-RU" dirty="0" smtClean="0"/>
                <a:t>целеполагание</a:t>
              </a:r>
            </a:p>
          </p:txBody>
        </p:sp>
        <p:grpSp>
          <p:nvGrpSpPr>
            <p:cNvPr id="8" name="Группа 7"/>
            <p:cNvGrpSpPr/>
            <p:nvPr/>
          </p:nvGrpSpPr>
          <p:grpSpPr>
            <a:xfrm>
              <a:off x="475353" y="1920277"/>
              <a:ext cx="728340" cy="728336"/>
              <a:chOff x="7559745" y="1617031"/>
              <a:chExt cx="728340" cy="728336"/>
            </a:xfrm>
          </p:grpSpPr>
          <p:sp>
            <p:nvSpPr>
              <p:cNvPr id="9" name="Овал 8">
                <a:extLst>
                  <a:ext uri="{FF2B5EF4-FFF2-40B4-BE49-F238E27FC236}">
                    <a16:creationId xmlns="" xmlns:a16="http://schemas.microsoft.com/office/drawing/2014/main" id="{1B3EF5EA-9F06-4458-A78A-6CE112383FDD}"/>
                  </a:ext>
                </a:extLst>
              </p:cNvPr>
              <p:cNvSpPr/>
              <p:nvPr/>
            </p:nvSpPr>
            <p:spPr>
              <a:xfrm>
                <a:off x="7559745" y="1617031"/>
                <a:ext cx="728340" cy="728336"/>
              </a:xfrm>
              <a:prstGeom prst="ellips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lIns="0" tIns="0" rIns="0" bIns="0" rtlCol="0" anchor="ctr"/>
              <a:lstStyle/>
              <a:p>
                <a:pPr algn="ctr"/>
                <a:endParaRPr lang="ru-RU" sz="2800" dirty="0">
                  <a:solidFill>
                    <a:schemeClr val="bg1">
                      <a:lumMod val="85000"/>
                    </a:schemeClr>
                  </a:solidFill>
                  <a:latin typeface="Open Sans Extrabold" panose="020B0906030804020204" pitchFamily="34" charset="0"/>
                  <a:ea typeface="Open Sans Extrabold" panose="020B0906030804020204" pitchFamily="34" charset="0"/>
                  <a:cs typeface="Open Sans Extrabold" panose="020B0906030804020204" pitchFamily="34" charset="0"/>
                </a:endParaRPr>
              </a:p>
            </p:txBody>
          </p:sp>
          <p:pic>
            <p:nvPicPr>
              <p:cNvPr id="10" name="Рисунок 9" descr="Попасть в яблочко">
                <a:extLst>
                  <a:ext uri="{FF2B5EF4-FFF2-40B4-BE49-F238E27FC236}">
                    <a16:creationId xmlns="" xmlns:a16="http://schemas.microsoft.com/office/drawing/2014/main" id="{3332B0D8-A807-4EFC-AFB5-23A266151D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7734300" y="1777850"/>
                <a:ext cx="406698" cy="406698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72848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1376"/>
          <a:stretch/>
        </p:blipFill>
        <p:spPr>
          <a:xfrm>
            <a:off x="251527" y="143422"/>
            <a:ext cx="6680883" cy="37433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314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70235" y="2604582"/>
            <a:ext cx="9512490" cy="41214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Стрелка углом 5"/>
          <p:cNvSpPr/>
          <p:nvPr/>
        </p:nvSpPr>
        <p:spPr>
          <a:xfrm rot="16200000" flipH="1" flipV="1">
            <a:off x="7507424" y="1268257"/>
            <a:ext cx="769518" cy="1903131"/>
          </a:xfrm>
          <a:prstGeom prst="ben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4298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4558928"/>
              </p:ext>
            </p:extLst>
          </p:nvPr>
        </p:nvGraphicFramePr>
        <p:xfrm>
          <a:off x="202441" y="1369704"/>
          <a:ext cx="11430001" cy="5461000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623455">
                  <a:extLst>
                    <a:ext uri="{9D8B030D-6E8A-4147-A177-3AD203B41FA5}">
                      <a16:colId xmlns="" xmlns:a16="http://schemas.microsoft.com/office/drawing/2014/main" val="1096936696"/>
                    </a:ext>
                  </a:extLst>
                </a:gridCol>
                <a:gridCol w="6909955">
                  <a:extLst>
                    <a:ext uri="{9D8B030D-6E8A-4147-A177-3AD203B41FA5}">
                      <a16:colId xmlns="" xmlns:a16="http://schemas.microsoft.com/office/drawing/2014/main" val="3399268678"/>
                    </a:ext>
                  </a:extLst>
                </a:gridCol>
                <a:gridCol w="1143000">
                  <a:extLst>
                    <a:ext uri="{9D8B030D-6E8A-4147-A177-3AD203B41FA5}">
                      <a16:colId xmlns="" xmlns:a16="http://schemas.microsoft.com/office/drawing/2014/main" val="3277319290"/>
                    </a:ext>
                  </a:extLst>
                </a:gridCol>
                <a:gridCol w="1132609">
                  <a:extLst>
                    <a:ext uri="{9D8B030D-6E8A-4147-A177-3AD203B41FA5}">
                      <a16:colId xmlns="" xmlns:a16="http://schemas.microsoft.com/office/drawing/2014/main" val="2657563928"/>
                    </a:ext>
                  </a:extLst>
                </a:gridCol>
                <a:gridCol w="1620982">
                  <a:extLst>
                    <a:ext uri="{9D8B030D-6E8A-4147-A177-3AD203B41FA5}">
                      <a16:colId xmlns="" xmlns:a16="http://schemas.microsoft.com/office/drawing/2014/main" val="2219841641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№ п/п</a:t>
                      </a:r>
                      <a:endParaRPr lang="ru-RU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Содержание</a:t>
                      </a:r>
                      <a:r>
                        <a:rPr lang="ru-RU" baseline="0" dirty="0" smtClean="0"/>
                        <a:t> 5 класс</a:t>
                      </a:r>
                      <a:endParaRPr lang="ru-RU" dirty="0"/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Кол-во часов</a:t>
                      </a:r>
                      <a:endParaRPr lang="ru-RU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Дата проведения</a:t>
                      </a:r>
                      <a:endParaRPr lang="ru-RU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57990469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Группа А</a:t>
                      </a:r>
                      <a:endParaRPr lang="ru-RU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Группа В</a:t>
                      </a:r>
                      <a:endParaRPr lang="ru-RU" b="1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493211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dirty="0" smtClean="0"/>
                        <a:t>1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Методы и средства творческой проектной деятельност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398591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dirty="0" smtClean="0"/>
                        <a:t>2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сновы производств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678715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dirty="0" smtClean="0"/>
                        <a:t>3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Современные и перспективные технологи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6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6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7370938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Элементы техники и маши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6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6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8601048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dirty="0" smtClean="0"/>
                        <a:t>5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Технологии получения, обработки, преобразования и использования материало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E22A8B"/>
                          </a:solidFill>
                        </a:rPr>
                        <a:t>20</a:t>
                      </a:r>
                      <a:endParaRPr lang="ru-RU" dirty="0">
                        <a:solidFill>
                          <a:srgbClr val="E22A8B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E22A8B"/>
                          </a:solidFill>
                        </a:rPr>
                        <a:t>14</a:t>
                      </a:r>
                      <a:endParaRPr lang="ru-RU" dirty="0">
                        <a:solidFill>
                          <a:srgbClr val="E22A8B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058967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dirty="0" smtClean="0"/>
                        <a:t>6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Технологии обработки пищевых продукто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E22A8B"/>
                          </a:solidFill>
                        </a:rPr>
                        <a:t>6</a:t>
                      </a:r>
                      <a:endParaRPr lang="ru-RU" dirty="0">
                        <a:solidFill>
                          <a:srgbClr val="E22A8B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E22A8B"/>
                          </a:solidFill>
                        </a:rPr>
                        <a:t>12</a:t>
                      </a:r>
                      <a:endParaRPr lang="ru-RU" dirty="0">
                        <a:solidFill>
                          <a:srgbClr val="E22A8B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7494124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dirty="0" smtClean="0"/>
                        <a:t>7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Технологии получения, преобразования и использования энерги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0994467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dirty="0" smtClean="0"/>
                        <a:t>8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Технологии получения, обработки и использования информаци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6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6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80665114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dirty="0" smtClean="0"/>
                        <a:t>9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Технологии растениеводств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869307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dirty="0" smtClean="0"/>
                        <a:t>10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Технологии животноводств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7327899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r>
                        <a:rPr lang="ru-RU" dirty="0" smtClean="0"/>
                        <a:t>11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Социальные технологи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6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6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 dirty="0" smtClean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666322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ctr">
                        <a:buFont typeface="+mj-lt"/>
                        <a:buNone/>
                      </a:pP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Общее количество часо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68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68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ru-RU" dirty="0" smtClean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965195480"/>
                  </a:ext>
                </a:extLst>
              </a:tr>
            </a:tbl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ЭТАПЫ СОСТАВЛЕНИЯ РАБОЧЕЙ ПРОГРАММЫ</a:t>
            </a:r>
          </a:p>
        </p:txBody>
      </p:sp>
    </p:spTree>
    <p:extLst>
      <p:ext uri="{BB962C8B-B14F-4D97-AF65-F5344CB8AC3E}">
        <p14:creationId xmlns:p14="http://schemas.microsoft.com/office/powerpoint/2010/main" val="2929883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ЭТАПЫ СОСТАВЛЕНИЯ РАБОЧЕЙ ПРОГРАММЫ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192" y="1655363"/>
            <a:ext cx="11171838" cy="47672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40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Шаг 7. Экспертиза учебной рабочей программы:</a:t>
            </a:r>
          </a:p>
          <a:p>
            <a:pPr lvl="2"/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рассмотрение учебной рабочей программы на заседании </a:t>
            </a:r>
            <a:r>
              <a:rPr lang="ru-RU" sz="28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методического объединения</a:t>
            </a:r>
          </a:p>
          <a:p>
            <a:pPr lvl="2"/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согласование учебной рабочей программы </a:t>
            </a:r>
            <a:r>
              <a:rPr lang="ru-RU" sz="28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зам. директора </a:t>
            </a: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по учебной  работе</a:t>
            </a:r>
          </a:p>
          <a:p>
            <a:pPr lvl="2"/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утверждение учебной рабочей программы </a:t>
            </a:r>
            <a:r>
              <a:rPr lang="ru-RU" sz="2800" b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директором </a:t>
            </a:r>
            <a:r>
              <a:rPr lang="ru-RU" sz="28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общеобразовательного учреждения</a:t>
            </a:r>
          </a:p>
        </p:txBody>
      </p:sp>
    </p:spTree>
    <p:extLst>
      <p:ext uri="{BB962C8B-B14F-4D97-AF65-F5344CB8AC3E}">
        <p14:creationId xmlns:p14="http://schemas.microsoft.com/office/powerpoint/2010/main" val="4021576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181834"/>
            <a:ext cx="12192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Хангуев Константин Борисович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048000" y="1608120"/>
            <a:ext cx="6096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едущий методист редакции технологического образования для школ </a:t>
            </a:r>
          </a:p>
          <a:p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АО «Издательство «Просвещение»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2990103"/>
            <a:ext cx="12192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Е</a:t>
            </a:r>
            <a:r>
              <a:rPr lang="en-US" sz="4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-mail: KKhanguev@prosv.ru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1271602" y="4793561"/>
            <a:ext cx="2841904" cy="506028"/>
            <a:chOff x="3271837" y="5157192"/>
            <a:chExt cx="5683807" cy="1012055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3271837" y="5157192"/>
              <a:ext cx="5683807" cy="792088"/>
            </a:xfrm>
            <a:prstGeom prst="round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521528">
                <a:defRPr/>
              </a:pPr>
              <a:r>
                <a:rPr lang="en-US" sz="1800" u="sng" dirty="0">
                  <a:solidFill>
                    <a:srgbClr val="0070C0"/>
                  </a:solidFill>
                  <a:latin typeface="Helvetica" pitchFamily="34" charset="0"/>
                </a:rPr>
                <a:t>http://technology.prosv.ru/</a:t>
              </a:r>
              <a:endParaRPr lang="ru-RU" sz="1800" u="sng" dirty="0">
                <a:solidFill>
                  <a:srgbClr val="0070C0"/>
                </a:solidFill>
                <a:latin typeface="Calibri"/>
              </a:endParaRPr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12473" y="5661248"/>
              <a:ext cx="507999" cy="507999"/>
            </a:xfrm>
            <a:prstGeom prst="rect">
              <a:avLst/>
            </a:prstGeom>
          </p:spPr>
        </p:pic>
      </p:grpSp>
      <p:grpSp>
        <p:nvGrpSpPr>
          <p:cNvPr id="6" name="Группа 5"/>
          <p:cNvGrpSpPr/>
          <p:nvPr/>
        </p:nvGrpSpPr>
        <p:grpSpPr>
          <a:xfrm>
            <a:off x="1175141" y="5402579"/>
            <a:ext cx="2841904" cy="506028"/>
            <a:chOff x="3271837" y="5157192"/>
            <a:chExt cx="5683807" cy="1012055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3271837" y="5157192"/>
              <a:ext cx="5683807" cy="792088"/>
            </a:xfrm>
            <a:prstGeom prst="round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marL="0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457189">
                <a:defRPr/>
              </a:pPr>
              <a:r>
                <a:rPr lang="en-US" sz="1800" u="sng" dirty="0">
                  <a:solidFill>
                    <a:srgbClr val="0070C0"/>
                  </a:solidFill>
                  <a:latin typeface="Helvetica" pitchFamily="34" charset="0"/>
                </a:rPr>
                <a:t>http://mycareer.prosv.ru</a:t>
              </a:r>
              <a:endParaRPr lang="ru-RU" sz="1800" u="sng" dirty="0">
                <a:solidFill>
                  <a:srgbClr val="0070C0"/>
                </a:solidFill>
                <a:latin typeface="Calibri"/>
              </a:endParaRPr>
            </a:p>
          </p:txBody>
        </p:sp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12473" y="5661248"/>
              <a:ext cx="507999" cy="507999"/>
            </a:xfrm>
            <a:prstGeom prst="rect">
              <a:avLst/>
            </a:prstGeom>
          </p:spPr>
        </p:pic>
      </p:grpSp>
      <p:pic>
        <p:nvPicPr>
          <p:cNvPr id="12" name="Picture 2" descr="https://dech.toluna.com/dpolls_images/2018/05/12/90a3fc63-3d6e-4c40-9202-fdad22297e23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4451" y="4312361"/>
            <a:ext cx="1220207" cy="686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5273" y="5248870"/>
            <a:ext cx="453366" cy="420246"/>
          </a:xfrm>
          <a:prstGeom prst="rect">
            <a:avLst/>
          </a:prstGeom>
        </p:spPr>
      </p:pic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5045922"/>
              </p:ext>
            </p:extLst>
          </p:nvPr>
        </p:nvGraphicFramePr>
        <p:xfrm>
          <a:off x="1293528" y="4038602"/>
          <a:ext cx="9604944" cy="1981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802472">
                  <a:extLst>
                    <a:ext uri="{9D8B030D-6E8A-4147-A177-3AD203B41FA5}">
                      <a16:colId xmlns="" xmlns:a16="http://schemas.microsoft.com/office/drawing/2014/main" val="3143930269"/>
                    </a:ext>
                  </a:extLst>
                </a:gridCol>
                <a:gridCol w="4802472">
                  <a:extLst>
                    <a:ext uri="{9D8B030D-6E8A-4147-A177-3AD203B41FA5}">
                      <a16:colId xmlns="" xmlns:a16="http://schemas.microsoft.com/office/drawing/2014/main" val="41304502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Моб.: 8(926) 72-221-13</a:t>
                      </a:r>
                    </a:p>
                    <a:p>
                      <a:r>
                        <a:rPr lang="ru-RU" sz="1800" dirty="0" smtClean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Раб.:   8(495) 789-30-40, доб. 40-68</a:t>
                      </a:r>
                      <a:endParaRPr lang="en-US" sz="1800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defTabSz="906897"/>
                      <a:endParaRPr lang="en-US" sz="1600" dirty="0" smtClean="0">
                        <a:solidFill>
                          <a:schemeClr val="accent6"/>
                        </a:solidFill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pPr algn="l" defTabSz="906897"/>
                      <a:r>
                        <a:rPr lang="en-US" sz="3600" dirty="0" smtClean="0">
                          <a:solidFill>
                            <a:schemeClr val="accent6"/>
                          </a:solidFill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             </a:t>
                      </a:r>
                      <a:r>
                        <a:rPr lang="en-US" sz="3600" dirty="0" err="1" smtClean="0">
                          <a:solidFill>
                            <a:schemeClr val="accent6"/>
                          </a:solidFill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CentrTechObr</a:t>
                      </a:r>
                      <a:endParaRPr lang="en-US" sz="3600" dirty="0" smtClean="0">
                        <a:solidFill>
                          <a:schemeClr val="accent6"/>
                        </a:solidFill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pPr algn="l" defTabSz="906897"/>
                      <a:endParaRPr lang="en-US" sz="1800" dirty="0" smtClean="0">
                        <a:solidFill>
                          <a:schemeClr val="accent6"/>
                        </a:solidFill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pPr algn="l" defTabSz="906897"/>
                      <a:r>
                        <a:rPr lang="en-US" sz="3600" dirty="0" smtClean="0">
                          <a:solidFill>
                            <a:schemeClr val="accent6"/>
                          </a:solidFill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             </a:t>
                      </a:r>
                      <a:r>
                        <a:rPr lang="en-US" sz="3600" dirty="0" err="1" smtClean="0">
                          <a:solidFill>
                            <a:schemeClr val="accent6"/>
                          </a:solidFill>
                          <a:ea typeface="Open Sans Light" panose="020B0306030504020204" pitchFamily="34" charset="0"/>
                          <a:cs typeface="Open Sans Light" panose="020B0306030504020204" pitchFamily="34" charset="0"/>
                        </a:rPr>
                        <a:t>Technology.prosv</a:t>
                      </a:r>
                      <a:endParaRPr lang="ru-RU" sz="3600" dirty="0" smtClean="0">
                        <a:solidFill>
                          <a:schemeClr val="accent6"/>
                        </a:solidFill>
                        <a:ea typeface="Open Sans Light" panose="020B0306030504020204" pitchFamily="34" charset="0"/>
                        <a:cs typeface="Open Sans Light" panose="020B0306030504020204" pitchFamily="34" charset="0"/>
                      </a:endParaRPr>
                    </a:p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66069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7680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6807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Группа 27"/>
          <p:cNvGrpSpPr/>
          <p:nvPr/>
        </p:nvGrpSpPr>
        <p:grpSpPr>
          <a:xfrm>
            <a:off x="368722" y="1354352"/>
            <a:ext cx="6561467" cy="956773"/>
            <a:chOff x="368723" y="1802520"/>
            <a:chExt cx="6561467" cy="956773"/>
          </a:xfrm>
        </p:grpSpPr>
        <p:sp>
          <p:nvSpPr>
            <p:cNvPr id="29" name="TextBox 28">
              <a:extLst>
                <a:ext uri="{FF2B5EF4-FFF2-40B4-BE49-F238E27FC236}">
                  <a16:creationId xmlns="" xmlns:a16="http://schemas.microsoft.com/office/drawing/2014/main" id="{B139A723-A86E-478B-9A92-20F301586D2E}"/>
                </a:ext>
              </a:extLst>
            </p:cNvPr>
            <p:cNvSpPr txBox="1"/>
            <p:nvPr/>
          </p:nvSpPr>
          <p:spPr>
            <a:xfrm>
              <a:off x="368723" y="1802520"/>
              <a:ext cx="6561467" cy="95677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08000" bIns="108000" rtlCol="0" anchor="ctr">
              <a:spAutoFit/>
            </a:bodyPr>
            <a:lstStyle>
              <a:defPPr>
                <a:defRPr lang="ru-RU"/>
              </a:defPPr>
              <a:lvl1pPr>
                <a:defRPr sz="2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ru-RU" dirty="0" smtClean="0"/>
                <a:t>            Инициирование учебной деятельности: целеполагание</a:t>
              </a:r>
            </a:p>
          </p:txBody>
        </p:sp>
        <p:sp>
          <p:nvSpPr>
            <p:cNvPr id="31" name="Овал 30">
              <a:extLst>
                <a:ext uri="{FF2B5EF4-FFF2-40B4-BE49-F238E27FC236}">
                  <a16:creationId xmlns=""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475353" y="1920277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УМК «Технология» под ред. В.М. Казакевича</a:t>
            </a:r>
            <a:endParaRPr lang="ru-RU" dirty="0"/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B139A723-A86E-478B-9A92-20F301586D2E}"/>
              </a:ext>
            </a:extLst>
          </p:cNvPr>
          <p:cNvSpPr txBox="1"/>
          <p:nvPr/>
        </p:nvSpPr>
        <p:spPr>
          <a:xfrm>
            <a:off x="1463595" y="1450224"/>
            <a:ext cx="4901110" cy="772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>
            <a:defPPr>
              <a:defRPr lang="ru-RU"/>
            </a:defPPr>
            <a:lvl1pPr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ru-RU" sz="3600" dirty="0" smtClean="0"/>
          </a:p>
        </p:txBody>
      </p:sp>
      <p:pic>
        <p:nvPicPr>
          <p:cNvPr id="27" name="Рисунок 26" descr="Отзыв заказчика">
            <a:extLst>
              <a:ext uri="{FF2B5EF4-FFF2-40B4-BE49-F238E27FC236}">
                <a16:creationId xmlns="" xmlns:a16="http://schemas.microsoft.com/office/drawing/2014/main" id="{DF1AC323-3F64-4719-BA68-02DA6FB42D4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39153" y="1662614"/>
            <a:ext cx="400737" cy="40073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640181" y="1624455"/>
            <a:ext cx="454793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 </a:t>
            </a:r>
            <a:r>
              <a: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ое сотрудничество</a:t>
            </a:r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39021" y="2430049"/>
            <a:ext cx="3125120" cy="41712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5732" y="3949409"/>
            <a:ext cx="1654593" cy="22123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697" y="3949409"/>
            <a:ext cx="1649733" cy="22123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9" name="Скругленный прямоугольник 38"/>
          <p:cNvSpPr/>
          <p:nvPr/>
        </p:nvSpPr>
        <p:spPr>
          <a:xfrm>
            <a:off x="2662238" y="3043237"/>
            <a:ext cx="2195512" cy="209551"/>
          </a:xfrm>
          <a:prstGeom prst="roundRect">
            <a:avLst/>
          </a:prstGeom>
          <a:solidFill>
            <a:schemeClr val="bg1">
              <a:lumMod val="50000"/>
              <a:alpha val="42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rgbClr val="E22A8B"/>
                </a:solidFill>
              </a:ln>
            </a:endParaRPr>
          </a:p>
        </p:txBody>
      </p:sp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1916" y="1354352"/>
            <a:ext cx="3936571" cy="52469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Скругленный прямоугольник 45"/>
          <p:cNvSpPr/>
          <p:nvPr/>
        </p:nvSpPr>
        <p:spPr>
          <a:xfrm>
            <a:off x="8377571" y="3934870"/>
            <a:ext cx="2195512" cy="301377"/>
          </a:xfrm>
          <a:prstGeom prst="roundRect">
            <a:avLst/>
          </a:prstGeom>
          <a:solidFill>
            <a:schemeClr val="bg1">
              <a:lumMod val="50000"/>
              <a:alpha val="42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rgbClr val="E22A8B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977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C:\Users\pd\Downloads\Techno_5kl-cover-01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8722" y="2548390"/>
            <a:ext cx="3084506" cy="40528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8" name="Группа 27"/>
          <p:cNvGrpSpPr/>
          <p:nvPr/>
        </p:nvGrpSpPr>
        <p:grpSpPr>
          <a:xfrm>
            <a:off x="368722" y="1354352"/>
            <a:ext cx="6561467" cy="956773"/>
            <a:chOff x="368723" y="1802520"/>
            <a:chExt cx="6561467" cy="956773"/>
          </a:xfrm>
        </p:grpSpPr>
        <p:sp>
          <p:nvSpPr>
            <p:cNvPr id="29" name="TextBox 28">
              <a:extLst>
                <a:ext uri="{FF2B5EF4-FFF2-40B4-BE49-F238E27FC236}">
                  <a16:creationId xmlns="" xmlns:a16="http://schemas.microsoft.com/office/drawing/2014/main" id="{B139A723-A86E-478B-9A92-20F301586D2E}"/>
                </a:ext>
              </a:extLst>
            </p:cNvPr>
            <p:cNvSpPr txBox="1"/>
            <p:nvPr/>
          </p:nvSpPr>
          <p:spPr>
            <a:xfrm>
              <a:off x="368723" y="1802520"/>
              <a:ext cx="6561467" cy="95677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08000" bIns="108000" rtlCol="0" anchor="ctr">
              <a:spAutoFit/>
            </a:bodyPr>
            <a:lstStyle>
              <a:defPPr>
                <a:defRPr lang="ru-RU"/>
              </a:defPPr>
              <a:lvl1pPr>
                <a:defRPr sz="2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ru-RU" dirty="0" smtClean="0"/>
                <a:t>            Инициирование учебной деятельности: целеполагание</a:t>
              </a:r>
            </a:p>
          </p:txBody>
        </p:sp>
        <p:sp>
          <p:nvSpPr>
            <p:cNvPr id="31" name="Овал 30">
              <a:extLst>
                <a:ext uri="{FF2B5EF4-FFF2-40B4-BE49-F238E27FC236}">
                  <a16:creationId xmlns=""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475353" y="1920277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УМК «Технология» под ред. В.М. Казакевича</a:t>
            </a:r>
            <a:endParaRPr lang="ru-RU" dirty="0"/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B139A723-A86E-478B-9A92-20F301586D2E}"/>
              </a:ext>
            </a:extLst>
          </p:cNvPr>
          <p:cNvSpPr txBox="1"/>
          <p:nvPr/>
        </p:nvSpPr>
        <p:spPr>
          <a:xfrm>
            <a:off x="1463595" y="1450224"/>
            <a:ext cx="4901110" cy="772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>
            <a:defPPr>
              <a:defRPr lang="ru-RU"/>
            </a:defPPr>
            <a:lvl1pPr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ru-RU" sz="3600" dirty="0" smtClean="0"/>
          </a:p>
        </p:txBody>
      </p:sp>
      <p:pic>
        <p:nvPicPr>
          <p:cNvPr id="27" name="Рисунок 26" descr="Отзыв заказчика">
            <a:extLst>
              <a:ext uri="{FF2B5EF4-FFF2-40B4-BE49-F238E27FC236}">
                <a16:creationId xmlns="" xmlns:a16="http://schemas.microsoft.com/office/drawing/2014/main" id="{DF1AC323-3F64-4719-BA68-02DA6FB42D4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39153" y="1662614"/>
            <a:ext cx="400737" cy="40073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640181" y="1624455"/>
            <a:ext cx="454793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 </a:t>
            </a:r>
            <a:r>
              <a: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исковая активность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01631" y="1354352"/>
            <a:ext cx="3918586" cy="52469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4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34235" y="2548390"/>
            <a:ext cx="3026836" cy="40528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4705" y="4388908"/>
            <a:ext cx="1651244" cy="22123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4" name="Скругленный прямоугольник 23"/>
          <p:cNvSpPr/>
          <p:nvPr/>
        </p:nvSpPr>
        <p:spPr>
          <a:xfrm>
            <a:off x="7648522" y="1672140"/>
            <a:ext cx="1676453" cy="282270"/>
          </a:xfrm>
          <a:prstGeom prst="roundRect">
            <a:avLst/>
          </a:prstGeom>
          <a:solidFill>
            <a:schemeClr val="bg1">
              <a:lumMod val="50000"/>
              <a:alpha val="42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rgbClr val="E22A8B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2901525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093" y="1354352"/>
            <a:ext cx="3914456" cy="52469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8" name="Группа 27"/>
          <p:cNvGrpSpPr/>
          <p:nvPr/>
        </p:nvGrpSpPr>
        <p:grpSpPr>
          <a:xfrm>
            <a:off x="368722" y="1354352"/>
            <a:ext cx="6561467" cy="956773"/>
            <a:chOff x="368723" y="1802520"/>
            <a:chExt cx="6561467" cy="956773"/>
          </a:xfrm>
        </p:grpSpPr>
        <p:sp>
          <p:nvSpPr>
            <p:cNvPr id="29" name="TextBox 28">
              <a:extLst>
                <a:ext uri="{FF2B5EF4-FFF2-40B4-BE49-F238E27FC236}">
                  <a16:creationId xmlns="" xmlns:a16="http://schemas.microsoft.com/office/drawing/2014/main" id="{B139A723-A86E-478B-9A92-20F301586D2E}"/>
                </a:ext>
              </a:extLst>
            </p:cNvPr>
            <p:cNvSpPr txBox="1"/>
            <p:nvPr/>
          </p:nvSpPr>
          <p:spPr>
            <a:xfrm>
              <a:off x="368723" y="1802520"/>
              <a:ext cx="6561467" cy="95677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08000" tIns="108000" rIns="108000" bIns="108000" rtlCol="0" anchor="ctr">
              <a:spAutoFit/>
            </a:bodyPr>
            <a:lstStyle>
              <a:defPPr>
                <a:defRPr lang="ru-RU"/>
              </a:defPPr>
              <a:lvl1pPr>
                <a:defRPr sz="2400" b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r>
                <a:rPr lang="ru-RU" dirty="0" smtClean="0"/>
                <a:t>            Инициирование учебной деятельности: целеполагание</a:t>
              </a:r>
            </a:p>
          </p:txBody>
        </p:sp>
        <p:sp>
          <p:nvSpPr>
            <p:cNvPr id="31" name="Овал 30">
              <a:extLst>
                <a:ext uri="{FF2B5EF4-FFF2-40B4-BE49-F238E27FC236}">
                  <a16:creationId xmlns=""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475353" y="1920277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</p:grpSp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УМК «Технология» под ред. В.М. Казакевича</a:t>
            </a:r>
            <a:endParaRPr lang="ru-RU" dirty="0"/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B139A723-A86E-478B-9A92-20F301586D2E}"/>
              </a:ext>
            </a:extLst>
          </p:cNvPr>
          <p:cNvSpPr txBox="1"/>
          <p:nvPr/>
        </p:nvSpPr>
        <p:spPr>
          <a:xfrm>
            <a:off x="1463595" y="1450224"/>
            <a:ext cx="4901110" cy="772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>
            <a:defPPr>
              <a:defRPr lang="ru-RU"/>
            </a:defPPr>
            <a:lvl1pPr>
              <a:defRPr sz="24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ru-RU" sz="3600" dirty="0" smtClean="0"/>
          </a:p>
        </p:txBody>
      </p:sp>
      <p:pic>
        <p:nvPicPr>
          <p:cNvPr id="27" name="Рисунок 26" descr="Отзыв заказчика">
            <a:extLst>
              <a:ext uri="{FF2B5EF4-FFF2-40B4-BE49-F238E27FC236}">
                <a16:creationId xmlns="" xmlns:a16="http://schemas.microsoft.com/office/drawing/2014/main" id="{DF1AC323-3F64-4719-BA68-02DA6FB42D4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39153" y="1662614"/>
            <a:ext cx="400737" cy="40073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640181" y="1624455"/>
            <a:ext cx="4547937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ценочная </a:t>
            </a:r>
            <a:r>
              <a: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амостоятельность </a:t>
            </a:r>
          </a:p>
        </p:txBody>
      </p:sp>
      <p:pic>
        <p:nvPicPr>
          <p:cNvPr id="8195" name="Picture 3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70122" y="2548390"/>
            <a:ext cx="3025718" cy="40528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6845" y="3949408"/>
            <a:ext cx="1651244" cy="22123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267" y="3949407"/>
            <a:ext cx="1650850" cy="22123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Скругленный прямоугольник 18"/>
          <p:cNvSpPr/>
          <p:nvPr/>
        </p:nvSpPr>
        <p:spPr>
          <a:xfrm>
            <a:off x="2504068" y="4319588"/>
            <a:ext cx="2467981" cy="209551"/>
          </a:xfrm>
          <a:prstGeom prst="roundRect">
            <a:avLst/>
          </a:prstGeom>
          <a:solidFill>
            <a:schemeClr val="bg1">
              <a:lumMod val="50000"/>
              <a:alpha val="42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rgbClr val="E22A8B"/>
                </a:solidFill>
              </a:ln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7839020" y="4631723"/>
            <a:ext cx="3071872" cy="209551"/>
          </a:xfrm>
          <a:prstGeom prst="roundRect">
            <a:avLst/>
          </a:prstGeom>
          <a:solidFill>
            <a:schemeClr val="bg1">
              <a:lumMod val="50000"/>
              <a:alpha val="42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rgbClr val="E22A8B"/>
                </a:solidFill>
              </a:ln>
            </a:endParaRPr>
          </a:p>
        </p:txBody>
      </p:sp>
    </p:spTree>
    <p:extLst>
      <p:ext uri="{BB962C8B-B14F-4D97-AF65-F5344CB8AC3E}">
        <p14:creationId xmlns:p14="http://schemas.microsoft.com/office/powerpoint/2010/main" val="1025892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635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508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17</TotalTime>
  <Words>6005</Words>
  <Application>Microsoft Office PowerPoint</Application>
  <PresentationFormat>Произвольный</PresentationFormat>
  <Paragraphs>630</Paragraphs>
  <Slides>64</Slides>
  <Notes>51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4</vt:i4>
      </vt:variant>
    </vt:vector>
  </HeadingPairs>
  <TitlesOfParts>
    <vt:vector size="69" baseType="lpstr">
      <vt:lpstr>Тема Office</vt:lpstr>
      <vt:lpstr>1_Тема Office</vt:lpstr>
      <vt:lpstr>2_Тема Office</vt:lpstr>
      <vt:lpstr>3_Тема Office</vt:lpstr>
      <vt:lpstr>Слайд think-cell</vt:lpstr>
      <vt:lpstr>МОДЕРНИЗАЦИЯ ТЕХНОЛОГИЧЕСКОГО ОБРАЗОВАНИЯ В УСЛОВИЯ РЕАЛИЗАЦИИ ПРЕДМЕТНОЙ КОНЦЕПЦИИ И НАЦИОНАЛЬНОГО ПРОЕКТА «ОБРАЗОВАНИЕ»</vt:lpstr>
      <vt:lpstr>Предпосылки модернизации</vt:lpstr>
      <vt:lpstr>Национальный проект «Образование»</vt:lpstr>
      <vt:lpstr>Современная школа</vt:lpstr>
      <vt:lpstr>УМК «Технология. 5-9 классы» под ред. В.М. Казакевича</vt:lpstr>
      <vt:lpstr>УМК «Технология» под ред. В.М. Казакевича</vt:lpstr>
      <vt:lpstr>УМК «Технология» под ред. В.М. Казакевича</vt:lpstr>
      <vt:lpstr>УМК «Технология» под ред. В.М. Казакевича</vt:lpstr>
      <vt:lpstr>УМК «Технология» под ред. В.М. Казакевича</vt:lpstr>
      <vt:lpstr>НИКО по технологии</vt:lpstr>
      <vt:lpstr>Успех каждого ребёнка</vt:lpstr>
      <vt:lpstr>Серия «Моя будущая профессия»</vt:lpstr>
      <vt:lpstr>Успех каждого ребёнка</vt:lpstr>
      <vt:lpstr>Цифровая образовательная среда</vt:lpstr>
      <vt:lpstr>Учитель будущего</vt:lpstr>
      <vt:lpstr>Социальная активность</vt:lpstr>
      <vt:lpstr>Концепция преподавания учебного предмета «Технология»</vt:lpstr>
      <vt:lpstr>Концепция преподавания учебного предмета «Технология»</vt:lpstr>
      <vt:lpstr>Презентация PowerPoint</vt:lpstr>
      <vt:lpstr>Концепция преподавания учебного предмета «Технология»</vt:lpstr>
      <vt:lpstr>Преемственность технологического образования в УМК издательства «Просвещение»</vt:lpstr>
      <vt:lpstr>КОНЦЕПЦИЯ ПРЕПОДАВАНИЯ УЧЕБНОГО ПРЕДМЕТА «ТЕХНОЛОГИЯ»</vt:lpstr>
      <vt:lpstr>Концепция развития предметной области «Технология»</vt:lpstr>
      <vt:lpstr>Концепция развития предметной области «Технология»</vt:lpstr>
      <vt:lpstr>Концепция развития предметной области «Технология»</vt:lpstr>
      <vt:lpstr>Особенности организации технологической подготовки</vt:lpstr>
      <vt:lpstr>Организационные подходы к реализации Концепции</vt:lpstr>
      <vt:lpstr>Особенности организации технологической подготовки</vt:lpstr>
      <vt:lpstr>Особенности организации технологической подготовки</vt:lpstr>
      <vt:lpstr>Оснащение образовательного процесса для технологической подготовки</vt:lpstr>
      <vt:lpstr>Этапы составления рабочей программы</vt:lpstr>
      <vt:lpstr>ФЕДЕРАЛЬНЫЙ ЗАКОН «ОБ ОБРАЗОВАНИИ В РФ»</vt:lpstr>
      <vt:lpstr>ФЕДЕРАЛЬНЫЙ ЗАКОН «ОБ ОБРАЗОВАНИИ В РФ»</vt:lpstr>
      <vt:lpstr>ФЕДЕРАЛЬНЫЙ ЗАКОН «ОБ ОБРАЗОВАНИИ В РФ»</vt:lpstr>
      <vt:lpstr>ФЕДЕРАЛЬНЫЙ ГОСУДАРСТВЕННЫЙ ОБРАЗОВАТЕЛЬНЫЙ СТАНДАРТ ОСНОВНОГО ОБЩЕГО ОБРАЗОВАНИЯ</vt:lpstr>
      <vt:lpstr>Презентация PowerPoint</vt:lpstr>
      <vt:lpstr>Презентация PowerPoint</vt:lpstr>
      <vt:lpstr>ПРИМЕРНАЯ ОСНОВНАЯ ОБРАЗОВАТЕЛЬНАЯ ПРОГРАММА  ОСНОВНОГО ОБЩЕГО ОБРАЗОВАНИЯ</vt:lpstr>
      <vt:lpstr>ПРИМЕРНАЯ ОСНОВНАЯ ОБРАЗОВАТЕЛЬНАЯ ПРОГРАММА  ОСНОВНОГО ОБЩЕГО ОБРАЗОВАНИЯ</vt:lpstr>
      <vt:lpstr>ПРИМЕРНАЯ ОСНОВНАЯ ОБРАЗОВАТЕЛЬНАЯ ПРОГРАММА  ОСНОВНОГО ОБЩЕГО ОБРАЗОВАНИЯ</vt:lpstr>
      <vt:lpstr>ПРИМЕРНАЯ ОСНОВНАЯ ОБРАЗОВАТЕЛЬНАЯ ПРОГРАММА  ОСНОВНОГО ОБЩЕГО ОБРАЗОВАНИЯ</vt:lpstr>
      <vt:lpstr>ПРИМЕРНАЯ ОСНОВНАЯ ОБРАЗОВАТЕЛЬНАЯ ПРОГРАММА  ОСНОВНОГО ОБЩЕГО ОБРАЗОВАНИЯ</vt:lpstr>
      <vt:lpstr>ПРИМЕРНАЯ ОСНОВНАЯ ОБРАЗОВАТЕЛЬНАЯ ПРОГРАММА  ОСНОВНОГО ОБЩЕГО ОБРАЗОВАНИЯ</vt:lpstr>
      <vt:lpstr>ЧТО ТАКОЕ  РАБОЧАЯ ПРОГРАММА?</vt:lpstr>
      <vt:lpstr>ПИСЬМО МИНИСТЕРСТВА ОБРАЗОВАНИЯ И НАУКИ РФ «О РАБОЧИХ ПРОГРАММАХ УЧЕБНЫХ ПРЕДМЕТОВ» ОТ 28.10.2015 Г. № 08-1786</vt:lpstr>
      <vt:lpstr>ПИСЬМО МИНИСТЕРСТВА ОБРАЗОВАНИЯ И НАУКИ РФ «О РАБОЧИХ ПРОГРАММАХ УЧЕБНЫХ ПРЕДМЕТОВ» ОТ 28.10.2015 Г. № 08-1786</vt:lpstr>
      <vt:lpstr>ПИСЬМО МИНИСТЕРСТВА ОБРАЗОВАНИЯ И НАУКИ РФ «О РАБОЧИХ ПРОГРАММАХ УЧЕБНЫХ ПРЕДМЕТОВ» ОТ 28.10.2015 Г. № 08-1786</vt:lpstr>
      <vt:lpstr>Презентация PowerPoint</vt:lpstr>
      <vt:lpstr>ЭТАПЫ СОСТАВЛЕНИЯ РАБОЧЕЙ ПРОГРАММЫ</vt:lpstr>
      <vt:lpstr>ТЕХНОЛОГИЯ АЛЬТЕРНАТИВА УЧЕБНИКАМ, ИСКЛЮЧЁННЫМ ИЗ ФПУ</vt:lpstr>
      <vt:lpstr>ЭТАПЫ СОСТАВЛЕНИЯ РАБОЧЕЙ ПРОГРАММЫ</vt:lpstr>
      <vt:lpstr>NOTA BENE</vt:lpstr>
      <vt:lpstr>NOTA BENE</vt:lpstr>
      <vt:lpstr>ЭТАПЫ СОСТАВЛЕНИЯ РАБОЧЕЙ ПРОГРАММЫ</vt:lpstr>
      <vt:lpstr>ПЛАНИРУЕМЫЕ РЕЗУЛЬТАТЫ ОСВОЕНИЯ КУРСА «ТЕХНОЛОГИЯ»</vt:lpstr>
      <vt:lpstr>ЭТАПЫ СОСТАВЛЕНИЯ РАБОЧЕЙ ПРОГРАММЫ</vt:lpstr>
      <vt:lpstr>NOTA BENE</vt:lpstr>
      <vt:lpstr>СОДЕРЖАНИЕ УЧЕБНОЙ ПРОГРАММЫ</vt:lpstr>
      <vt:lpstr>ЭТАПЫ СОСТАВЛЕНИЯ РАБОЧЕЙ ПРОГРАММЫ</vt:lpstr>
      <vt:lpstr>Презентация PowerPoint</vt:lpstr>
      <vt:lpstr>ЭТАПЫ СОСТАВЛЕНИЯ РАБОЧЕЙ ПРОГРАММЫ</vt:lpstr>
      <vt:lpstr>ЭТАПЫ СОСТАВЛЕНИЯ РАБОЧЕЙ ПРОГРАММЫ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ухов Никита Эдуардович</dc:creator>
  <cp:lastModifiedBy>Анастасия Черепнева</cp:lastModifiedBy>
  <cp:revision>281</cp:revision>
  <cp:lastPrinted>2018-06-26T15:33:39Z</cp:lastPrinted>
  <dcterms:modified xsi:type="dcterms:W3CDTF">2019-10-10T11:01:52Z</dcterms:modified>
</cp:coreProperties>
</file>